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heme/themeOverride1.xml" ContentType="application/vnd.openxmlformats-officedocument.themeOverride+xml"/>
  <Override PartName="/ppt/theme/themeOverride2.xml" ContentType="application/vnd.openxmlformats-officedocument.themeOverride+xml"/>
  <Override PartName="/ppt/notesSlides/notesSlide2.xml" ContentType="application/vnd.openxmlformats-officedocument.presentationml.notesSlide+xml"/>
  <Override PartName="/ppt/theme/themeOverride3.xml" ContentType="application/vnd.openxmlformats-officedocument.themeOverride+xml"/>
  <Override PartName="/ppt/tags/tag3.xml" ContentType="application/vnd.openxmlformats-officedocument.presentationml.tags+xml"/>
  <Override PartName="/ppt/notesSlides/notesSlide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4" r:id="rId4"/>
    <p:sldMasterId id="2147483673" r:id="rId5"/>
  </p:sldMasterIdLst>
  <p:notesMasterIdLst>
    <p:notesMasterId r:id="rId13"/>
  </p:notesMasterIdLst>
  <p:handoutMasterIdLst>
    <p:handoutMasterId r:id="rId14"/>
  </p:handoutMasterIdLst>
  <p:sldIdLst>
    <p:sldId id="538" r:id="rId6"/>
    <p:sldId id="338" r:id="rId7"/>
    <p:sldId id="858" r:id="rId8"/>
    <p:sldId id="962" r:id="rId9"/>
    <p:sldId id="944" r:id="rId10"/>
    <p:sldId id="966" r:id="rId11"/>
    <p:sldId id="333" r:id="rId12"/>
  </p:sldIdLst>
  <p:sldSz cx="12192000" cy="6858000"/>
  <p:notesSz cx="6669088" cy="9926638"/>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irawat, Rishabh" initials="HR" lastIdx="1" clrIdx="0"/>
  <p:cmAuthor id="2" name="Gupta, Siddhi" initials="GS" lastIdx="1"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38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FF5BAE1-8D27-A278-26AA-503C3DB09A09}" v="7" dt="2020-03-06T09:13:00.054"/>
    <p1510:client id="{4EE22D79-53C4-AA65-DE63-82ECFA86396F}" v="1" dt="2020-03-06T09:24:00.38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2160"/>
        <p:guide pos="3840"/>
      </p:guideLst>
    </p:cSldViewPr>
  </p:slide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notesMaster" Target="notesMasters/notesMaster1.xml"/><Relationship Id="rId18" Type="http://schemas.openxmlformats.org/officeDocument/2006/relationships/theme" Target="theme/theme1.xml"/><Relationship Id="rId3" Type="http://schemas.openxmlformats.org/officeDocument/2006/relationships/customXml" Target="../customXml/item3.xml"/><Relationship Id="rId21" Type="http://schemas.microsoft.com/office/2015/10/relationships/revisionInfo" Target="revisionInfo.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20"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commentAuthors" Target="commentAuthors.xml"/><Relationship Id="rId10" Type="http://schemas.openxmlformats.org/officeDocument/2006/relationships/slide" Target="slides/slide5.xml"/><Relationship Id="rId19"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handoutMaster" Target="handoutMasters/handoutMaster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iriksha Soni" userId="S::niriksha@promactinfo.com::5843ee8f-ddf5-441c-a094-d50ec584a315" providerId="AD" clId="Web-{2FF5BAE1-8D27-A278-26AA-503C3DB09A09}"/>
    <pc:docChg chg="modSld">
      <pc:chgData name="Niriksha Soni" userId="S::niriksha@promactinfo.com::5843ee8f-ddf5-441c-a094-d50ec584a315" providerId="AD" clId="Web-{2FF5BAE1-8D27-A278-26AA-503C3DB09A09}" dt="2020-03-06T09:03:37.099" v="1"/>
      <pc:docMkLst>
        <pc:docMk/>
      </pc:docMkLst>
      <pc:sldChg chg="modSp">
        <pc:chgData name="Niriksha Soni" userId="S::niriksha@promactinfo.com::5843ee8f-ddf5-441c-a094-d50ec584a315" providerId="AD" clId="Web-{2FF5BAE1-8D27-A278-26AA-503C3DB09A09}" dt="2020-03-06T09:03:37.099" v="1"/>
        <pc:sldMkLst>
          <pc:docMk/>
          <pc:sldMk cId="1572139140" sldId="962"/>
        </pc:sldMkLst>
        <pc:graphicFrameChg chg="mod modGraphic">
          <ac:chgData name="Niriksha Soni" userId="S::niriksha@promactinfo.com::5843ee8f-ddf5-441c-a094-d50ec584a315" providerId="AD" clId="Web-{2FF5BAE1-8D27-A278-26AA-503C3DB09A09}" dt="2020-03-06T09:03:37.099" v="1"/>
          <ac:graphicFrameMkLst>
            <pc:docMk/>
            <pc:sldMk cId="1572139140" sldId="962"/>
            <ac:graphicFrameMk id="18" creationId="{828253F1-C3E6-4F59-BDCA-AD87A4BFE8FD}"/>
          </ac:graphicFrameMkLst>
        </pc:graphicFrameChg>
      </pc:sldChg>
    </pc:docChg>
  </pc:docChgLst>
  <pc:docChgLst>
    <pc:chgData name="Setu Saraf" userId="S::setu@promactinfo.com::ee02cb25-92b2-4992-980e-7e14c61f3624" providerId="AD" clId="Web-{4EE22D79-53C4-AA65-DE63-82ECFA86396F}"/>
    <pc:docChg chg="modSld">
      <pc:chgData name="Setu Saraf" userId="S::setu@promactinfo.com::ee02cb25-92b2-4992-980e-7e14c61f3624" providerId="AD" clId="Web-{4EE22D79-53C4-AA65-DE63-82ECFA86396F}" dt="2020-03-06T09:24:00.385" v="0" actId="1076"/>
      <pc:docMkLst>
        <pc:docMk/>
      </pc:docMkLst>
      <pc:sldChg chg="modSp">
        <pc:chgData name="Setu Saraf" userId="S::setu@promactinfo.com::ee02cb25-92b2-4992-980e-7e14c61f3624" providerId="AD" clId="Web-{4EE22D79-53C4-AA65-DE63-82ECFA86396F}" dt="2020-03-06T09:24:00.385" v="0" actId="1076"/>
        <pc:sldMkLst>
          <pc:docMk/>
          <pc:sldMk cId="2170856878" sldId="966"/>
        </pc:sldMkLst>
        <pc:spChg chg="mod">
          <ac:chgData name="Setu Saraf" userId="S::setu@promactinfo.com::ee02cb25-92b2-4992-980e-7e14c61f3624" providerId="AD" clId="Web-{4EE22D79-53C4-AA65-DE63-82ECFA86396F}" dt="2020-03-06T09:24:00.385" v="0" actId="1076"/>
          <ac:spMkLst>
            <pc:docMk/>
            <pc:sldMk cId="2170856878" sldId="966"/>
            <ac:spMk id="18" creationId="{8F873DAE-6592-4101-86B2-FA798C81F94B}"/>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CD6C4B60-7477-47CD-9960-E1C6A193CB22}"/>
              </a:ext>
            </a:extLst>
          </p:cNvPr>
          <p:cNvSpPr>
            <a:spLocks noGrp="1"/>
          </p:cNvSpPr>
          <p:nvPr>
            <p:ph type="hdr" sz="quarter"/>
          </p:nvPr>
        </p:nvSpPr>
        <p:spPr>
          <a:xfrm>
            <a:off x="0" y="0"/>
            <a:ext cx="2889938" cy="498056"/>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45DA4CED-9826-46A7-86A8-03D9A391DFEB}"/>
              </a:ext>
            </a:extLst>
          </p:cNvPr>
          <p:cNvSpPr>
            <a:spLocks noGrp="1"/>
          </p:cNvSpPr>
          <p:nvPr>
            <p:ph type="dt" sz="quarter" idx="1"/>
          </p:nvPr>
        </p:nvSpPr>
        <p:spPr>
          <a:xfrm>
            <a:off x="3777607" y="0"/>
            <a:ext cx="2889938" cy="498056"/>
          </a:xfrm>
          <a:prstGeom prst="rect">
            <a:avLst/>
          </a:prstGeom>
        </p:spPr>
        <p:txBody>
          <a:bodyPr vert="horz" lIns="91440" tIns="45720" rIns="91440" bIns="45720" rtlCol="0"/>
          <a:lstStyle>
            <a:lvl1pPr algn="r">
              <a:defRPr sz="1200"/>
            </a:lvl1pPr>
          </a:lstStyle>
          <a:p>
            <a:fld id="{9AF4BE73-5E2F-4E94-99C3-797E451DD6A8}" type="datetimeFigureOut">
              <a:rPr lang="en-US" smtClean="0"/>
              <a:t>3/6/2020</a:t>
            </a:fld>
            <a:endParaRPr lang="en-US"/>
          </a:p>
        </p:txBody>
      </p:sp>
      <p:sp>
        <p:nvSpPr>
          <p:cNvPr id="4" name="Footer Placeholder 3">
            <a:extLst>
              <a:ext uri="{FF2B5EF4-FFF2-40B4-BE49-F238E27FC236}">
                <a16:creationId xmlns:a16="http://schemas.microsoft.com/office/drawing/2014/main" id="{2F2449B7-174A-4F73-B769-3BDA56648C53}"/>
              </a:ext>
            </a:extLst>
          </p:cNvPr>
          <p:cNvSpPr>
            <a:spLocks noGrp="1"/>
          </p:cNvSpPr>
          <p:nvPr>
            <p:ph type="ftr" sz="quarter" idx="2"/>
          </p:nvPr>
        </p:nvSpPr>
        <p:spPr>
          <a:xfrm>
            <a:off x="0" y="9428584"/>
            <a:ext cx="2889938" cy="49805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2462260C-FA38-4AC9-847A-AB6D758F005D}"/>
              </a:ext>
            </a:extLst>
          </p:cNvPr>
          <p:cNvSpPr>
            <a:spLocks noGrp="1"/>
          </p:cNvSpPr>
          <p:nvPr>
            <p:ph type="sldNum" sz="quarter" idx="3"/>
          </p:nvPr>
        </p:nvSpPr>
        <p:spPr>
          <a:xfrm>
            <a:off x="3777607" y="9428584"/>
            <a:ext cx="2889938" cy="498055"/>
          </a:xfrm>
          <a:prstGeom prst="rect">
            <a:avLst/>
          </a:prstGeom>
        </p:spPr>
        <p:txBody>
          <a:bodyPr vert="horz" lIns="91440" tIns="45720" rIns="91440" bIns="45720" rtlCol="0" anchor="b"/>
          <a:lstStyle>
            <a:lvl1pPr algn="r">
              <a:defRPr sz="1200"/>
            </a:lvl1pPr>
          </a:lstStyle>
          <a:p>
            <a:fld id="{E821E7FE-F039-4373-8A1F-30EA31AA0BE3}" type="slidenum">
              <a:rPr lang="en-US" smtClean="0"/>
              <a:t>‹#›</a:t>
            </a:fld>
            <a:endParaRPr lang="en-US"/>
          </a:p>
        </p:txBody>
      </p:sp>
    </p:spTree>
    <p:extLst>
      <p:ext uri="{BB962C8B-B14F-4D97-AF65-F5344CB8AC3E}">
        <p14:creationId xmlns:p14="http://schemas.microsoft.com/office/powerpoint/2010/main" val="24113989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889938" cy="498056"/>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777607" y="0"/>
            <a:ext cx="2889938" cy="498056"/>
          </a:xfrm>
          <a:prstGeom prst="rect">
            <a:avLst/>
          </a:prstGeom>
        </p:spPr>
        <p:txBody>
          <a:bodyPr vert="horz" lIns="91440" tIns="45720" rIns="91440" bIns="45720" rtlCol="0"/>
          <a:lstStyle>
            <a:lvl1pPr algn="r">
              <a:defRPr sz="1200"/>
            </a:lvl1pPr>
          </a:lstStyle>
          <a:p>
            <a:fld id="{503A744A-E385-44A8-87EE-34BC288A7BAC}" type="datetimeFigureOut">
              <a:rPr lang="en-US" smtClean="0"/>
              <a:t>3/6/2020</a:t>
            </a:fld>
            <a:endParaRPr lang="en-US"/>
          </a:p>
        </p:txBody>
      </p:sp>
      <p:sp>
        <p:nvSpPr>
          <p:cNvPr id="4" name="Slide Image Placeholder 3"/>
          <p:cNvSpPr>
            <a:spLocks noGrp="1" noRot="1" noChangeAspect="1"/>
          </p:cNvSpPr>
          <p:nvPr>
            <p:ph type="sldImg" idx="2"/>
          </p:nvPr>
        </p:nvSpPr>
        <p:spPr>
          <a:xfrm>
            <a:off x="357188" y="1241425"/>
            <a:ext cx="5954712" cy="334962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66909" y="4777194"/>
            <a:ext cx="5335270" cy="3908614"/>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28584"/>
            <a:ext cx="2889938" cy="498055"/>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777607" y="9428584"/>
            <a:ext cx="2889938" cy="498055"/>
          </a:xfrm>
          <a:prstGeom prst="rect">
            <a:avLst/>
          </a:prstGeom>
        </p:spPr>
        <p:txBody>
          <a:bodyPr vert="horz" lIns="91440" tIns="45720" rIns="91440" bIns="45720" rtlCol="0" anchor="b"/>
          <a:lstStyle>
            <a:lvl1pPr algn="r">
              <a:defRPr sz="1200"/>
            </a:lvl1pPr>
          </a:lstStyle>
          <a:p>
            <a:fld id="{F2623D18-37F0-4F87-B0E3-3C3BC33A4870}" type="slidenum">
              <a:rPr lang="en-US" smtClean="0"/>
              <a:t>‹#›</a:t>
            </a:fld>
            <a:endParaRPr lang="en-US"/>
          </a:p>
        </p:txBody>
      </p:sp>
    </p:spTree>
    <p:extLst>
      <p:ext uri="{BB962C8B-B14F-4D97-AF65-F5344CB8AC3E}">
        <p14:creationId xmlns:p14="http://schemas.microsoft.com/office/powerpoint/2010/main" val="297187072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57188" y="1241425"/>
            <a:ext cx="5954712" cy="33496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2FEE106-D861-6343-96FF-5BF90692C3C7}" type="slidenum">
              <a:rPr lang="en-US" smtClean="0"/>
              <a:pPr/>
              <a:t>1</a:t>
            </a:fld>
            <a:endParaRPr lang="en-US"/>
          </a:p>
        </p:txBody>
      </p:sp>
    </p:spTree>
    <p:extLst>
      <p:ext uri="{BB962C8B-B14F-4D97-AF65-F5344CB8AC3E}">
        <p14:creationId xmlns:p14="http://schemas.microsoft.com/office/powerpoint/2010/main" val="38744111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57188" y="1241425"/>
            <a:ext cx="5954712" cy="3349625"/>
          </a:xfrm>
        </p:spPr>
      </p:sp>
      <p:sp>
        <p:nvSpPr>
          <p:cNvPr id="3" name="Notes Placeholder 2"/>
          <p:cNvSpPr>
            <a:spLocks noGrp="1"/>
          </p:cNvSpPr>
          <p:nvPr>
            <p:ph type="body" idx="1"/>
          </p:nvPr>
        </p:nvSpPr>
        <p:spPr/>
        <p:txBody>
          <a:bodyPr/>
          <a:lstStyle/>
          <a:p>
            <a:pPr marL="0" marR="0" lvl="1" indent="0" algn="l" defTabSz="685800" rtl="0" eaLnBrk="1" fontAlgn="auto" latinLnBrk="0" hangingPunct="1">
              <a:lnSpc>
                <a:spcPct val="100000"/>
              </a:lnSpc>
              <a:spcBef>
                <a:spcPts val="0"/>
              </a:spcBef>
              <a:spcAft>
                <a:spcPts val="0"/>
              </a:spcAft>
              <a:buClrTx/>
              <a:buSzTx/>
              <a:buFontTx/>
              <a:buNone/>
              <a:tabLst/>
              <a:defRPr/>
            </a:pPr>
            <a:endParaRPr lang="en-US" sz="1000">
              <a:solidFill>
                <a:srgbClr val="000000"/>
              </a:solidFill>
            </a:endParaRPr>
          </a:p>
        </p:txBody>
      </p:sp>
      <p:sp>
        <p:nvSpPr>
          <p:cNvPr id="4" name="Slide Number Placeholder 3"/>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6DE7B5D8-9373-4721-ADA7-201A7D23142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129574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2623D18-37F0-4F87-B0E3-3C3BC33A4870}" type="slidenum">
              <a:rPr lang="en-US" smtClean="0"/>
              <a:t>7</a:t>
            </a:fld>
            <a:endParaRPr lang="en-US"/>
          </a:p>
        </p:txBody>
      </p:sp>
    </p:spTree>
    <p:extLst>
      <p:ext uri="{BB962C8B-B14F-4D97-AF65-F5344CB8AC3E}">
        <p14:creationId xmlns:p14="http://schemas.microsoft.com/office/powerpoint/2010/main" val="301793530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Title 4"/>
          <p:cNvSpPr>
            <a:spLocks noGrp="1"/>
          </p:cNvSpPr>
          <p:nvPr>
            <p:ph type="title"/>
          </p:nvPr>
        </p:nvSpPr>
        <p:spPr>
          <a:xfrm>
            <a:off x="754439" y="292616"/>
            <a:ext cx="10710095" cy="819015"/>
          </a:xfrm>
        </p:spPr>
        <p:txBody>
          <a:bodyPr/>
          <a:lstStyle>
            <a:lvl1pPr>
              <a:defRPr>
                <a:solidFill>
                  <a:srgbClr val="00338D"/>
                </a:solidFill>
              </a:defRPr>
            </a:lvl1pPr>
          </a:lstStyle>
          <a:p>
            <a:r>
              <a:rPr lang="en-US"/>
              <a:t>Click to edit Master title style</a:t>
            </a:r>
          </a:p>
        </p:txBody>
      </p:sp>
      <p:cxnSp>
        <p:nvCxnSpPr>
          <p:cNvPr id="3" name="Straight Connector 2"/>
          <p:cNvCxnSpPr/>
          <p:nvPr userDrawn="1"/>
        </p:nvCxnSpPr>
        <p:spPr>
          <a:xfrm>
            <a:off x="737924" y="1143000"/>
            <a:ext cx="10710096"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 name="Straight Connector 3"/>
          <p:cNvCxnSpPr/>
          <p:nvPr userDrawn="1"/>
        </p:nvCxnSpPr>
        <p:spPr>
          <a:xfrm>
            <a:off x="754436" y="6426872"/>
            <a:ext cx="10710096"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783098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userDrawn="1">
  <p:cSld name="1_TITLE SLIDE - No imag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546537" y="1582370"/>
            <a:ext cx="8256000" cy="3510000"/>
          </a:xfrm>
        </p:spPr>
        <p:txBody>
          <a:bodyPr anchor="t" anchorCtr="0"/>
          <a:lstStyle>
            <a:lvl1pPr algn="l">
              <a:defRPr sz="11001">
                <a:solidFill>
                  <a:schemeClr val="bg1"/>
                </a:solidFill>
              </a:defRPr>
            </a:lvl1pPr>
          </a:lstStyle>
          <a:p>
            <a:r>
              <a:rPr lang="en-GB"/>
              <a:t>Title slide – </a:t>
            </a:r>
            <a:br>
              <a:rPr lang="en-GB"/>
            </a:br>
            <a:r>
              <a:rPr lang="en-GB"/>
              <a:t>no image</a:t>
            </a:r>
            <a:endParaRPr lang="en-US"/>
          </a:p>
        </p:txBody>
      </p:sp>
      <p:sp>
        <p:nvSpPr>
          <p:cNvPr id="4" name="object 3"/>
          <p:cNvSpPr/>
          <p:nvPr userDrawn="1"/>
        </p:nvSpPr>
        <p:spPr>
          <a:xfrm>
            <a:off x="9" y="0"/>
            <a:ext cx="1209599"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801">
              <a:latin typeface="Arial" panose="020B0604020202020204" pitchFamily="34" charset="0"/>
            </a:endParaRPr>
          </a:p>
        </p:txBody>
      </p:sp>
      <p:sp>
        <p:nvSpPr>
          <p:cNvPr id="6" name="Freeform 19"/>
          <p:cNvSpPr>
            <a:spLocks noEditPoints="1"/>
          </p:cNvSpPr>
          <p:nvPr userDrawn="1"/>
        </p:nvSpPr>
        <p:spPr bwMode="auto">
          <a:xfrm>
            <a:off x="1572271" y="722672"/>
            <a:ext cx="1036800" cy="408426"/>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1" rIns="91440" bIns="45721" numCol="1" anchor="t" anchorCtr="0" compatLnSpc="1">
            <a:prstTxWarp prst="textNoShape">
              <a:avLst/>
            </a:prstTxWarp>
          </a:bodyPr>
          <a:lstStyle/>
          <a:p>
            <a:endParaRPr lang="en-GB" sz="1600"/>
          </a:p>
        </p:txBody>
      </p:sp>
      <p:sp>
        <p:nvSpPr>
          <p:cNvPr id="7" name="Text Placeholder 3"/>
          <p:cNvSpPr>
            <a:spLocks noGrp="1"/>
          </p:cNvSpPr>
          <p:nvPr>
            <p:ph type="body" sz="quarter" idx="11"/>
          </p:nvPr>
        </p:nvSpPr>
        <p:spPr>
          <a:xfrm>
            <a:off x="1542777" y="5434601"/>
            <a:ext cx="8230267"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74645" y="477926"/>
            <a:ext cx="1344084" cy="897929"/>
          </a:xfrm>
          <a:prstGeom prst="rect">
            <a:avLst/>
          </a:prstGeom>
        </p:spPr>
      </p:pic>
    </p:spTree>
    <p:extLst>
      <p:ext uri="{BB962C8B-B14F-4D97-AF65-F5344CB8AC3E}">
        <p14:creationId xmlns:p14="http://schemas.microsoft.com/office/powerpoint/2010/main" val="124437872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759D26-A83E-40D9-B8CD-F608AE950CC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091F3DA-1DB8-4BBE-A6F0-14E41A282B4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473A907E-6085-4ADE-B1FE-5764F7F0E2DB}"/>
              </a:ext>
            </a:extLst>
          </p:cNvPr>
          <p:cNvSpPr>
            <a:spLocks noGrp="1"/>
          </p:cNvSpPr>
          <p:nvPr>
            <p:ph type="dt" sz="half" idx="10"/>
          </p:nvPr>
        </p:nvSpPr>
        <p:spPr/>
        <p:txBody>
          <a:bodyPr/>
          <a:lstStyle/>
          <a:p>
            <a:fld id="{282FDE51-C9E2-4DD2-8D5A-45CC3A661743}" type="datetimeFigureOut">
              <a:rPr lang="en-US" smtClean="0"/>
              <a:t>3/6/2020</a:t>
            </a:fld>
            <a:endParaRPr lang="en-US"/>
          </a:p>
        </p:txBody>
      </p:sp>
      <p:sp>
        <p:nvSpPr>
          <p:cNvPr id="5" name="Footer Placeholder 4">
            <a:extLst>
              <a:ext uri="{FF2B5EF4-FFF2-40B4-BE49-F238E27FC236}">
                <a16:creationId xmlns:a16="http://schemas.microsoft.com/office/drawing/2014/main" id="{3DBF52E5-E553-4188-B8E4-B9A0E37C1D2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3406436-72CA-46E1-89C4-5A7C0458DDD2}"/>
              </a:ext>
            </a:extLst>
          </p:cNvPr>
          <p:cNvSpPr>
            <a:spLocks noGrp="1"/>
          </p:cNvSpPr>
          <p:nvPr>
            <p:ph type="sldNum" sz="quarter" idx="12"/>
          </p:nvPr>
        </p:nvSpPr>
        <p:spPr/>
        <p:txBody>
          <a:bodyPr/>
          <a:lstStyle/>
          <a:p>
            <a:fld id="{3A97B9A2-02CD-4546-8A2E-87D1D4FD33F3}" type="slidenum">
              <a:rPr lang="en-US" smtClean="0"/>
              <a:t>‹#›</a:t>
            </a:fld>
            <a:endParaRPr lang="en-US"/>
          </a:p>
        </p:txBody>
      </p:sp>
    </p:spTree>
    <p:extLst>
      <p:ext uri="{BB962C8B-B14F-4D97-AF65-F5344CB8AC3E}">
        <p14:creationId xmlns:p14="http://schemas.microsoft.com/office/powerpoint/2010/main" val="398254709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97165F-6025-4C38-8F0C-63A4870BCF7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2D8DBF1-FA67-4DAC-8013-B4FCF0DF182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5342C8E-631C-445F-8264-16A9E6544F02}"/>
              </a:ext>
            </a:extLst>
          </p:cNvPr>
          <p:cNvSpPr>
            <a:spLocks noGrp="1"/>
          </p:cNvSpPr>
          <p:nvPr>
            <p:ph type="dt" sz="half" idx="10"/>
          </p:nvPr>
        </p:nvSpPr>
        <p:spPr/>
        <p:txBody>
          <a:bodyPr/>
          <a:lstStyle/>
          <a:p>
            <a:fld id="{282FDE51-C9E2-4DD2-8D5A-45CC3A661743}" type="datetimeFigureOut">
              <a:rPr lang="en-US" smtClean="0"/>
              <a:t>3/6/2020</a:t>
            </a:fld>
            <a:endParaRPr lang="en-US"/>
          </a:p>
        </p:txBody>
      </p:sp>
      <p:sp>
        <p:nvSpPr>
          <p:cNvPr id="5" name="Footer Placeholder 4">
            <a:extLst>
              <a:ext uri="{FF2B5EF4-FFF2-40B4-BE49-F238E27FC236}">
                <a16:creationId xmlns:a16="http://schemas.microsoft.com/office/drawing/2014/main" id="{58C95288-6825-4EA9-8E71-AC27DA2D6C3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1EF7EEE-647B-44A9-81A8-8433EBFB30E9}"/>
              </a:ext>
            </a:extLst>
          </p:cNvPr>
          <p:cNvSpPr>
            <a:spLocks noGrp="1"/>
          </p:cNvSpPr>
          <p:nvPr>
            <p:ph type="sldNum" sz="quarter" idx="12"/>
          </p:nvPr>
        </p:nvSpPr>
        <p:spPr/>
        <p:txBody>
          <a:bodyPr/>
          <a:lstStyle/>
          <a:p>
            <a:fld id="{3A97B9A2-02CD-4546-8A2E-87D1D4FD33F3}" type="slidenum">
              <a:rPr lang="en-US" smtClean="0"/>
              <a:t>‹#›</a:t>
            </a:fld>
            <a:endParaRPr lang="en-US"/>
          </a:p>
        </p:txBody>
      </p:sp>
    </p:spTree>
    <p:extLst>
      <p:ext uri="{BB962C8B-B14F-4D97-AF65-F5344CB8AC3E}">
        <p14:creationId xmlns:p14="http://schemas.microsoft.com/office/powerpoint/2010/main" val="410224278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DEF088-3A41-4DB6-9543-1A2C6AF6BB0A}"/>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8F059E38-95C3-4974-9431-A51ABB375CD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09787D3-A56D-4764-B619-786F038813A8}"/>
              </a:ext>
            </a:extLst>
          </p:cNvPr>
          <p:cNvSpPr>
            <a:spLocks noGrp="1"/>
          </p:cNvSpPr>
          <p:nvPr>
            <p:ph type="dt" sz="half" idx="10"/>
          </p:nvPr>
        </p:nvSpPr>
        <p:spPr/>
        <p:txBody>
          <a:bodyPr/>
          <a:lstStyle/>
          <a:p>
            <a:fld id="{282FDE51-C9E2-4DD2-8D5A-45CC3A661743}" type="datetimeFigureOut">
              <a:rPr lang="en-US" smtClean="0"/>
              <a:t>3/6/2020</a:t>
            </a:fld>
            <a:endParaRPr lang="en-US"/>
          </a:p>
        </p:txBody>
      </p:sp>
      <p:sp>
        <p:nvSpPr>
          <p:cNvPr id="5" name="Footer Placeholder 4">
            <a:extLst>
              <a:ext uri="{FF2B5EF4-FFF2-40B4-BE49-F238E27FC236}">
                <a16:creationId xmlns:a16="http://schemas.microsoft.com/office/drawing/2014/main" id="{7A0A1575-4569-488C-8A55-F14732FB5E7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2C42685-AF3F-459F-AD42-7A95983666CB}"/>
              </a:ext>
            </a:extLst>
          </p:cNvPr>
          <p:cNvSpPr>
            <a:spLocks noGrp="1"/>
          </p:cNvSpPr>
          <p:nvPr>
            <p:ph type="sldNum" sz="quarter" idx="12"/>
          </p:nvPr>
        </p:nvSpPr>
        <p:spPr/>
        <p:txBody>
          <a:bodyPr/>
          <a:lstStyle/>
          <a:p>
            <a:fld id="{3A97B9A2-02CD-4546-8A2E-87D1D4FD33F3}" type="slidenum">
              <a:rPr lang="en-US" smtClean="0"/>
              <a:t>‹#›</a:t>
            </a:fld>
            <a:endParaRPr lang="en-US"/>
          </a:p>
        </p:txBody>
      </p:sp>
    </p:spTree>
    <p:extLst>
      <p:ext uri="{BB962C8B-B14F-4D97-AF65-F5344CB8AC3E}">
        <p14:creationId xmlns:p14="http://schemas.microsoft.com/office/powerpoint/2010/main" val="154736973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2D3D08-294A-4422-B623-A116E7115B9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1A17433-83F6-4D5E-AFE4-4711CBE529DF}"/>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CA049E7-C94A-4C2C-B34D-683CF05AB358}"/>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F89D4E8-BFE0-434C-A005-84DDED40292E}"/>
              </a:ext>
            </a:extLst>
          </p:cNvPr>
          <p:cNvSpPr>
            <a:spLocks noGrp="1"/>
          </p:cNvSpPr>
          <p:nvPr>
            <p:ph type="dt" sz="half" idx="10"/>
          </p:nvPr>
        </p:nvSpPr>
        <p:spPr/>
        <p:txBody>
          <a:bodyPr/>
          <a:lstStyle/>
          <a:p>
            <a:fld id="{282FDE51-C9E2-4DD2-8D5A-45CC3A661743}" type="datetimeFigureOut">
              <a:rPr lang="en-US" smtClean="0"/>
              <a:t>3/6/2020</a:t>
            </a:fld>
            <a:endParaRPr lang="en-US"/>
          </a:p>
        </p:txBody>
      </p:sp>
      <p:sp>
        <p:nvSpPr>
          <p:cNvPr id="6" name="Footer Placeholder 5">
            <a:extLst>
              <a:ext uri="{FF2B5EF4-FFF2-40B4-BE49-F238E27FC236}">
                <a16:creationId xmlns:a16="http://schemas.microsoft.com/office/drawing/2014/main" id="{FD18CB67-05B1-47B4-B6C9-8ED3C710297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466EF1A-0A5B-490B-AEFC-50F0A7CAA413}"/>
              </a:ext>
            </a:extLst>
          </p:cNvPr>
          <p:cNvSpPr>
            <a:spLocks noGrp="1"/>
          </p:cNvSpPr>
          <p:nvPr>
            <p:ph type="sldNum" sz="quarter" idx="12"/>
          </p:nvPr>
        </p:nvSpPr>
        <p:spPr/>
        <p:txBody>
          <a:bodyPr/>
          <a:lstStyle/>
          <a:p>
            <a:fld id="{3A97B9A2-02CD-4546-8A2E-87D1D4FD33F3}" type="slidenum">
              <a:rPr lang="en-US" smtClean="0"/>
              <a:t>‹#›</a:t>
            </a:fld>
            <a:endParaRPr lang="en-US"/>
          </a:p>
        </p:txBody>
      </p:sp>
    </p:spTree>
    <p:extLst>
      <p:ext uri="{BB962C8B-B14F-4D97-AF65-F5344CB8AC3E}">
        <p14:creationId xmlns:p14="http://schemas.microsoft.com/office/powerpoint/2010/main" val="350175659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0EA3AF-A976-437A-8B32-1418FF9A202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DA08BCA9-5C91-4192-917E-75D090399CC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1998AF15-AEF3-4E7A-8B09-A23734565EB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EE01888-C616-4909-82C1-CAEF7299BC3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49B9B0E-C41C-4B67-8303-F0CF0551EB70}"/>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6B384218-EA0E-4103-9EF8-DE7EB4FD87EB}"/>
              </a:ext>
            </a:extLst>
          </p:cNvPr>
          <p:cNvSpPr>
            <a:spLocks noGrp="1"/>
          </p:cNvSpPr>
          <p:nvPr>
            <p:ph type="dt" sz="half" idx="10"/>
          </p:nvPr>
        </p:nvSpPr>
        <p:spPr/>
        <p:txBody>
          <a:bodyPr/>
          <a:lstStyle/>
          <a:p>
            <a:fld id="{282FDE51-C9E2-4DD2-8D5A-45CC3A661743}" type="datetimeFigureOut">
              <a:rPr lang="en-US" smtClean="0"/>
              <a:t>3/6/2020</a:t>
            </a:fld>
            <a:endParaRPr lang="en-US"/>
          </a:p>
        </p:txBody>
      </p:sp>
      <p:sp>
        <p:nvSpPr>
          <p:cNvPr id="8" name="Footer Placeholder 7">
            <a:extLst>
              <a:ext uri="{FF2B5EF4-FFF2-40B4-BE49-F238E27FC236}">
                <a16:creationId xmlns:a16="http://schemas.microsoft.com/office/drawing/2014/main" id="{831BF3CA-617D-4676-B69A-551A7D7FD9DD}"/>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5EBB8EBB-8641-43F0-A175-AF39B8CC327B}"/>
              </a:ext>
            </a:extLst>
          </p:cNvPr>
          <p:cNvSpPr>
            <a:spLocks noGrp="1"/>
          </p:cNvSpPr>
          <p:nvPr>
            <p:ph type="sldNum" sz="quarter" idx="12"/>
          </p:nvPr>
        </p:nvSpPr>
        <p:spPr/>
        <p:txBody>
          <a:bodyPr/>
          <a:lstStyle/>
          <a:p>
            <a:fld id="{3A97B9A2-02CD-4546-8A2E-87D1D4FD33F3}" type="slidenum">
              <a:rPr lang="en-US" smtClean="0"/>
              <a:t>‹#›</a:t>
            </a:fld>
            <a:endParaRPr lang="en-US"/>
          </a:p>
        </p:txBody>
      </p:sp>
    </p:spTree>
    <p:extLst>
      <p:ext uri="{BB962C8B-B14F-4D97-AF65-F5344CB8AC3E}">
        <p14:creationId xmlns:p14="http://schemas.microsoft.com/office/powerpoint/2010/main" val="2777727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7DC8BE-D33B-434B-9A08-27D86CD4174B}"/>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3E2A1745-80C3-48F0-A10A-50CE0ACD594E}"/>
              </a:ext>
            </a:extLst>
          </p:cNvPr>
          <p:cNvSpPr>
            <a:spLocks noGrp="1"/>
          </p:cNvSpPr>
          <p:nvPr>
            <p:ph type="dt" sz="half" idx="10"/>
          </p:nvPr>
        </p:nvSpPr>
        <p:spPr/>
        <p:txBody>
          <a:bodyPr/>
          <a:lstStyle/>
          <a:p>
            <a:fld id="{282FDE51-C9E2-4DD2-8D5A-45CC3A661743}" type="datetimeFigureOut">
              <a:rPr lang="en-US" smtClean="0"/>
              <a:t>3/6/2020</a:t>
            </a:fld>
            <a:endParaRPr lang="en-US"/>
          </a:p>
        </p:txBody>
      </p:sp>
      <p:sp>
        <p:nvSpPr>
          <p:cNvPr id="4" name="Footer Placeholder 3">
            <a:extLst>
              <a:ext uri="{FF2B5EF4-FFF2-40B4-BE49-F238E27FC236}">
                <a16:creationId xmlns:a16="http://schemas.microsoft.com/office/drawing/2014/main" id="{DF572865-348E-46A2-8943-2FB4E88C10C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E77A90BD-5AAF-4FF5-B2ED-6444EF2A3B45}"/>
              </a:ext>
            </a:extLst>
          </p:cNvPr>
          <p:cNvSpPr>
            <a:spLocks noGrp="1"/>
          </p:cNvSpPr>
          <p:nvPr>
            <p:ph type="sldNum" sz="quarter" idx="12"/>
          </p:nvPr>
        </p:nvSpPr>
        <p:spPr/>
        <p:txBody>
          <a:bodyPr/>
          <a:lstStyle/>
          <a:p>
            <a:fld id="{3A97B9A2-02CD-4546-8A2E-87D1D4FD33F3}" type="slidenum">
              <a:rPr lang="en-US" smtClean="0"/>
              <a:t>‹#›</a:t>
            </a:fld>
            <a:endParaRPr lang="en-US"/>
          </a:p>
        </p:txBody>
      </p:sp>
    </p:spTree>
    <p:extLst>
      <p:ext uri="{BB962C8B-B14F-4D97-AF65-F5344CB8AC3E}">
        <p14:creationId xmlns:p14="http://schemas.microsoft.com/office/powerpoint/2010/main" val="7055782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7505EB8-28C9-435A-BCB1-525CF7E7087A}"/>
              </a:ext>
            </a:extLst>
          </p:cNvPr>
          <p:cNvSpPr>
            <a:spLocks noGrp="1"/>
          </p:cNvSpPr>
          <p:nvPr>
            <p:ph type="dt" sz="half" idx="10"/>
          </p:nvPr>
        </p:nvSpPr>
        <p:spPr/>
        <p:txBody>
          <a:bodyPr/>
          <a:lstStyle/>
          <a:p>
            <a:fld id="{282FDE51-C9E2-4DD2-8D5A-45CC3A661743}" type="datetimeFigureOut">
              <a:rPr lang="en-US" smtClean="0"/>
              <a:t>3/6/2020</a:t>
            </a:fld>
            <a:endParaRPr lang="en-US"/>
          </a:p>
        </p:txBody>
      </p:sp>
      <p:sp>
        <p:nvSpPr>
          <p:cNvPr id="3" name="Footer Placeholder 2">
            <a:extLst>
              <a:ext uri="{FF2B5EF4-FFF2-40B4-BE49-F238E27FC236}">
                <a16:creationId xmlns:a16="http://schemas.microsoft.com/office/drawing/2014/main" id="{318F99B1-24D5-4D39-A220-C67671D42718}"/>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0A659EE1-5164-42EB-9546-500FBF691424}"/>
              </a:ext>
            </a:extLst>
          </p:cNvPr>
          <p:cNvSpPr>
            <a:spLocks noGrp="1"/>
          </p:cNvSpPr>
          <p:nvPr>
            <p:ph type="sldNum" sz="quarter" idx="12"/>
          </p:nvPr>
        </p:nvSpPr>
        <p:spPr/>
        <p:txBody>
          <a:bodyPr/>
          <a:lstStyle/>
          <a:p>
            <a:fld id="{3A97B9A2-02CD-4546-8A2E-87D1D4FD33F3}" type="slidenum">
              <a:rPr lang="en-US" smtClean="0"/>
              <a:t>‹#›</a:t>
            </a:fld>
            <a:endParaRPr lang="en-US"/>
          </a:p>
        </p:txBody>
      </p:sp>
    </p:spTree>
    <p:extLst>
      <p:ext uri="{BB962C8B-B14F-4D97-AF65-F5344CB8AC3E}">
        <p14:creationId xmlns:p14="http://schemas.microsoft.com/office/powerpoint/2010/main" val="281584163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7A418A-FDEE-4AAD-A05F-62F62768512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A7ED0B36-011B-4F8F-BAB5-D38BA3E46AD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DEEC3F8F-B64A-4812-AE84-DA8D78040E6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B40AAAF-2E5C-4B8F-8FDB-E8784ED62547}"/>
              </a:ext>
            </a:extLst>
          </p:cNvPr>
          <p:cNvSpPr>
            <a:spLocks noGrp="1"/>
          </p:cNvSpPr>
          <p:nvPr>
            <p:ph type="dt" sz="half" idx="10"/>
          </p:nvPr>
        </p:nvSpPr>
        <p:spPr/>
        <p:txBody>
          <a:bodyPr/>
          <a:lstStyle/>
          <a:p>
            <a:fld id="{282FDE51-C9E2-4DD2-8D5A-45CC3A661743}" type="datetimeFigureOut">
              <a:rPr lang="en-US" smtClean="0"/>
              <a:t>3/6/2020</a:t>
            </a:fld>
            <a:endParaRPr lang="en-US"/>
          </a:p>
        </p:txBody>
      </p:sp>
      <p:sp>
        <p:nvSpPr>
          <p:cNvPr id="6" name="Footer Placeholder 5">
            <a:extLst>
              <a:ext uri="{FF2B5EF4-FFF2-40B4-BE49-F238E27FC236}">
                <a16:creationId xmlns:a16="http://schemas.microsoft.com/office/drawing/2014/main" id="{85A0DADE-D3B9-4F37-A6D1-FEE51AC214E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DF5D9CA-1E58-40A6-886D-15CEBCB4E4E1}"/>
              </a:ext>
            </a:extLst>
          </p:cNvPr>
          <p:cNvSpPr>
            <a:spLocks noGrp="1"/>
          </p:cNvSpPr>
          <p:nvPr>
            <p:ph type="sldNum" sz="quarter" idx="12"/>
          </p:nvPr>
        </p:nvSpPr>
        <p:spPr/>
        <p:txBody>
          <a:bodyPr/>
          <a:lstStyle/>
          <a:p>
            <a:fld id="{3A97B9A2-02CD-4546-8A2E-87D1D4FD33F3}" type="slidenum">
              <a:rPr lang="en-US" smtClean="0"/>
              <a:t>‹#›</a:t>
            </a:fld>
            <a:endParaRPr lang="en-US"/>
          </a:p>
        </p:txBody>
      </p:sp>
    </p:spTree>
    <p:extLst>
      <p:ext uri="{BB962C8B-B14F-4D97-AF65-F5344CB8AC3E}">
        <p14:creationId xmlns:p14="http://schemas.microsoft.com/office/powerpoint/2010/main" val="393529331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621088-2D63-4CEF-88C8-476B99EDFBC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CE8BEDB4-E283-4AEA-B7E6-901FCED8C63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6563B6B8-2097-43FF-8B2C-370CB989316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E969D80-9472-4767-8F74-0BBC76AAB5B1}"/>
              </a:ext>
            </a:extLst>
          </p:cNvPr>
          <p:cNvSpPr>
            <a:spLocks noGrp="1"/>
          </p:cNvSpPr>
          <p:nvPr>
            <p:ph type="dt" sz="half" idx="10"/>
          </p:nvPr>
        </p:nvSpPr>
        <p:spPr/>
        <p:txBody>
          <a:bodyPr/>
          <a:lstStyle/>
          <a:p>
            <a:fld id="{282FDE51-C9E2-4DD2-8D5A-45CC3A661743}" type="datetimeFigureOut">
              <a:rPr lang="en-US" smtClean="0"/>
              <a:t>3/6/2020</a:t>
            </a:fld>
            <a:endParaRPr lang="en-US"/>
          </a:p>
        </p:txBody>
      </p:sp>
      <p:sp>
        <p:nvSpPr>
          <p:cNvPr id="6" name="Footer Placeholder 5">
            <a:extLst>
              <a:ext uri="{FF2B5EF4-FFF2-40B4-BE49-F238E27FC236}">
                <a16:creationId xmlns:a16="http://schemas.microsoft.com/office/drawing/2014/main" id="{2C8FDB49-0224-4EDF-8818-AEF2C75C409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8B5B426-F6D8-4C77-8BF6-FE2DB414F4D7}"/>
              </a:ext>
            </a:extLst>
          </p:cNvPr>
          <p:cNvSpPr>
            <a:spLocks noGrp="1"/>
          </p:cNvSpPr>
          <p:nvPr>
            <p:ph type="sldNum" sz="quarter" idx="12"/>
          </p:nvPr>
        </p:nvSpPr>
        <p:spPr/>
        <p:txBody>
          <a:bodyPr/>
          <a:lstStyle/>
          <a:p>
            <a:fld id="{3A97B9A2-02CD-4546-8A2E-87D1D4FD33F3}" type="slidenum">
              <a:rPr lang="en-US" smtClean="0"/>
              <a:t>‹#›</a:t>
            </a:fld>
            <a:endParaRPr lang="en-US"/>
          </a:p>
        </p:txBody>
      </p:sp>
    </p:spTree>
    <p:extLst>
      <p:ext uri="{BB962C8B-B14F-4D97-AF65-F5344CB8AC3E}">
        <p14:creationId xmlns:p14="http://schemas.microsoft.com/office/powerpoint/2010/main" val="189612397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userDrawn="1">
  <p:cSld name="FINAL SLIDE">
    <p:spTree>
      <p:nvGrpSpPr>
        <p:cNvPr id="1" name=""/>
        <p:cNvGrpSpPr/>
        <p:nvPr/>
      </p:nvGrpSpPr>
      <p:grpSpPr>
        <a:xfrm>
          <a:off x="0" y="0"/>
          <a:ext cx="0" cy="0"/>
          <a:chOff x="0" y="0"/>
          <a:chExt cx="0" cy="0"/>
        </a:xfrm>
      </p:grpSpPr>
      <p:sp>
        <p:nvSpPr>
          <p:cNvPr id="5" name="object 3"/>
          <p:cNvSpPr/>
          <p:nvPr userDrawn="1"/>
        </p:nvSpPr>
        <p:spPr>
          <a:xfrm>
            <a:off x="13" y="0"/>
            <a:ext cx="99695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401">
              <a:latin typeface="Arial" panose="020B0604020202020204" pitchFamily="34" charset="0"/>
              <a:sym typeface="Arial" panose="020B0604020202020204" pitchFamily="34" charset="0"/>
            </a:endParaRPr>
          </a:p>
        </p:txBody>
      </p:sp>
      <p:sp>
        <p:nvSpPr>
          <p:cNvPr id="11" name="Freeform 19"/>
          <p:cNvSpPr>
            <a:spLocks noEditPoints="1"/>
          </p:cNvSpPr>
          <p:nvPr userDrawn="1"/>
        </p:nvSpPr>
        <p:spPr bwMode="auto">
          <a:xfrm>
            <a:off x="2112000" y="784800"/>
            <a:ext cx="10368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1" rIns="91440" bIns="45721" numCol="1" anchor="t" anchorCtr="0" compatLnSpc="1">
            <a:prstTxWarp prst="textNoShape">
              <a:avLst/>
            </a:prstTxWarp>
          </a:bodyPr>
          <a:lstStyle/>
          <a:p>
            <a:endParaRPr lang="en-GB" sz="1600"/>
          </a:p>
        </p:txBody>
      </p:sp>
      <p:sp>
        <p:nvSpPr>
          <p:cNvPr id="12" name="Text Placeholder 2"/>
          <p:cNvSpPr>
            <a:spLocks noGrp="1"/>
          </p:cNvSpPr>
          <p:nvPr>
            <p:ph type="body" sz="quarter" idx="11"/>
          </p:nvPr>
        </p:nvSpPr>
        <p:spPr>
          <a:xfrm>
            <a:off x="2112005" y="4587244"/>
            <a:ext cx="9087284" cy="846000"/>
          </a:xfrm>
        </p:spPr>
        <p:txBody>
          <a:bodyPr/>
          <a:lstStyle>
            <a:lvl1pPr>
              <a:buFontTx/>
              <a:buNone/>
              <a:defRPr sz="1100" b="0">
                <a:solidFill>
                  <a:schemeClr val="bg1">
                    <a:lumMod val="65000"/>
                  </a:schemeClr>
                </a:solidFill>
              </a:defRPr>
            </a:lvl1pPr>
            <a:lvl2pPr>
              <a:buFontTx/>
              <a:buNone/>
              <a:defRPr sz="1100" b="0">
                <a:solidFill>
                  <a:schemeClr val="bg1">
                    <a:lumMod val="65000"/>
                  </a:schemeClr>
                </a:solidFill>
              </a:defRPr>
            </a:lvl2pPr>
            <a:lvl3pPr marL="0" indent="0">
              <a:buFontTx/>
              <a:buNone/>
              <a:defRPr sz="900" b="0">
                <a:solidFill>
                  <a:schemeClr val="bg1">
                    <a:lumMod val="65000"/>
                  </a:schemeClr>
                </a:solidFill>
              </a:defRPr>
            </a:lvl3pPr>
            <a:lvl4pPr marL="345586" indent="0">
              <a:buFontTx/>
              <a:buNone/>
              <a:defRPr sz="900" b="0">
                <a:solidFill>
                  <a:schemeClr val="bg1">
                    <a:lumMod val="65000"/>
                  </a:schemeClr>
                </a:solidFill>
              </a:defRPr>
            </a:lvl4pPr>
            <a:lvl5pPr marL="539981" indent="0">
              <a:buFontTx/>
              <a:buNone/>
              <a:defRPr sz="900" b="0">
                <a:solidFill>
                  <a:schemeClr val="bg1">
                    <a:lumMod val="65000"/>
                  </a:schemeClr>
                </a:solidFill>
              </a:defRPr>
            </a:lvl5pPr>
          </a:lstStyle>
          <a:p>
            <a:pPr lvl="0"/>
            <a:r>
              <a:rPr lang="en-US"/>
              <a:t>Click to edit Master text styles</a:t>
            </a:r>
          </a:p>
          <a:p>
            <a:pPr lvl="1"/>
            <a:r>
              <a:rPr lang="en-US"/>
              <a:t>Second level</a:t>
            </a:r>
          </a:p>
        </p:txBody>
      </p:sp>
      <p:sp>
        <p:nvSpPr>
          <p:cNvPr id="13" name="Text Placeholder 2"/>
          <p:cNvSpPr>
            <a:spLocks noGrp="1"/>
          </p:cNvSpPr>
          <p:nvPr>
            <p:ph type="body" sz="quarter" idx="12"/>
          </p:nvPr>
        </p:nvSpPr>
        <p:spPr>
          <a:xfrm>
            <a:off x="2112005" y="5634841"/>
            <a:ext cx="9087284" cy="169277"/>
          </a:xfrm>
        </p:spPr>
        <p:txBody>
          <a:bodyPr>
            <a:noAutofit/>
          </a:bodyPr>
          <a:lstStyle>
            <a:lvl1pPr>
              <a:buFontTx/>
              <a:buNone/>
              <a:defRPr sz="1100" b="0">
                <a:solidFill>
                  <a:schemeClr val="bg1">
                    <a:lumMod val="65000"/>
                  </a:schemeClr>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586" indent="0">
              <a:buFontTx/>
              <a:buNone/>
              <a:defRPr sz="900" b="0">
                <a:solidFill>
                  <a:schemeClr val="bg1">
                    <a:lumMod val="65000"/>
                  </a:schemeClr>
                </a:solidFill>
              </a:defRPr>
            </a:lvl4pPr>
            <a:lvl5pPr marL="539981" indent="0">
              <a:buFontTx/>
              <a:buNone/>
              <a:defRPr sz="900" b="0">
                <a:solidFill>
                  <a:schemeClr val="bg1">
                    <a:lumMod val="65000"/>
                  </a:schemeClr>
                </a:solidFill>
              </a:defRPr>
            </a:lvl5pPr>
          </a:lstStyle>
          <a:p>
            <a:pPr lvl="0"/>
            <a:r>
              <a:rPr lang="en-US"/>
              <a:t>Click to edit Master text styles</a:t>
            </a:r>
          </a:p>
        </p:txBody>
      </p:sp>
      <p:sp>
        <p:nvSpPr>
          <p:cNvPr id="14" name="Text Placeholder 2"/>
          <p:cNvSpPr>
            <a:spLocks noGrp="1"/>
          </p:cNvSpPr>
          <p:nvPr>
            <p:ph type="body" sz="quarter" idx="13"/>
          </p:nvPr>
        </p:nvSpPr>
        <p:spPr>
          <a:xfrm>
            <a:off x="2112005" y="3539658"/>
            <a:ext cx="9087284" cy="846000"/>
          </a:xfrm>
        </p:spPr>
        <p:txBody>
          <a:bodyPr/>
          <a:lstStyle>
            <a:lvl1pPr>
              <a:buFontTx/>
              <a:buNone/>
              <a:defRPr sz="1100" b="0">
                <a:solidFill>
                  <a:schemeClr val="bg1">
                    <a:lumMod val="65000"/>
                  </a:schemeClr>
                </a:solidFill>
              </a:defRPr>
            </a:lvl1pPr>
            <a:lvl2pPr>
              <a:buFontTx/>
              <a:buNone/>
              <a:defRPr sz="1100" b="0">
                <a:solidFill>
                  <a:schemeClr val="bg1">
                    <a:lumMod val="65000"/>
                  </a:schemeClr>
                </a:solidFill>
              </a:defRPr>
            </a:lvl2pPr>
            <a:lvl3pPr marL="0" indent="0">
              <a:buFontTx/>
              <a:buNone/>
              <a:defRPr sz="900" b="0">
                <a:solidFill>
                  <a:schemeClr val="bg1">
                    <a:lumMod val="65000"/>
                  </a:schemeClr>
                </a:solidFill>
              </a:defRPr>
            </a:lvl3pPr>
            <a:lvl4pPr marL="345586" indent="0">
              <a:buFontTx/>
              <a:buNone/>
              <a:defRPr sz="900" b="0">
                <a:solidFill>
                  <a:schemeClr val="bg1">
                    <a:lumMod val="65000"/>
                  </a:schemeClr>
                </a:solidFill>
              </a:defRPr>
            </a:lvl4pPr>
            <a:lvl5pPr marL="539981" indent="0">
              <a:buFontTx/>
              <a:buNone/>
              <a:defRPr sz="900" b="0">
                <a:solidFill>
                  <a:schemeClr val="bg1">
                    <a:lumMod val="65000"/>
                  </a:schemeClr>
                </a:solidFill>
              </a:defRPr>
            </a:lvl5pPr>
          </a:lstStyle>
          <a:p>
            <a:pPr lvl="0"/>
            <a:r>
              <a:rPr lang="en-US"/>
              <a:t>Click to edit Master text styles</a:t>
            </a:r>
          </a:p>
          <a:p>
            <a:pPr lvl="1"/>
            <a:r>
              <a:rPr lang="en-US"/>
              <a:t>Second level</a:t>
            </a:r>
          </a:p>
        </p:txBody>
      </p:sp>
      <p:sp>
        <p:nvSpPr>
          <p:cNvPr id="15" name="Text Placeholder 2"/>
          <p:cNvSpPr>
            <a:spLocks noGrp="1"/>
          </p:cNvSpPr>
          <p:nvPr>
            <p:ph type="body" sz="quarter" idx="14"/>
          </p:nvPr>
        </p:nvSpPr>
        <p:spPr>
          <a:xfrm>
            <a:off x="2112003" y="3187909"/>
            <a:ext cx="3215652" cy="119064"/>
          </a:xfrm>
        </p:spPr>
        <p:txBody>
          <a:bodyPr/>
          <a:lstStyle>
            <a:lvl1pPr>
              <a:buFontTx/>
              <a:buNone/>
              <a:defRPr sz="1200" b="1">
                <a:solidFill>
                  <a:schemeClr val="tx2"/>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586" indent="0">
              <a:buFontTx/>
              <a:buNone/>
              <a:defRPr sz="900" b="0">
                <a:solidFill>
                  <a:schemeClr val="bg1">
                    <a:lumMod val="65000"/>
                  </a:schemeClr>
                </a:solidFill>
              </a:defRPr>
            </a:lvl4pPr>
            <a:lvl5pPr marL="539981" indent="0">
              <a:buFontTx/>
              <a:buNone/>
              <a:defRPr sz="900" b="0">
                <a:solidFill>
                  <a:schemeClr val="bg1">
                    <a:lumMod val="65000"/>
                  </a:schemeClr>
                </a:solidFill>
              </a:defRPr>
            </a:lvl5pPr>
          </a:lstStyle>
          <a:p>
            <a:pPr lvl="0"/>
            <a:r>
              <a:rPr lang="en-US"/>
              <a:t>Click to edit Master text styles</a:t>
            </a:r>
          </a:p>
        </p:txBody>
      </p:sp>
      <p:sp>
        <p:nvSpPr>
          <p:cNvPr id="22" name="Text Placeholder 2"/>
          <p:cNvSpPr>
            <a:spLocks noGrp="1"/>
          </p:cNvSpPr>
          <p:nvPr>
            <p:ph type="body" sz="quarter" idx="15"/>
          </p:nvPr>
        </p:nvSpPr>
        <p:spPr>
          <a:xfrm>
            <a:off x="6367124" y="3187909"/>
            <a:ext cx="3148357" cy="119064"/>
          </a:xfrm>
        </p:spPr>
        <p:txBody>
          <a:bodyPr/>
          <a:lstStyle>
            <a:lvl1pPr>
              <a:buFontTx/>
              <a:buNone/>
              <a:defRPr sz="1200" b="1">
                <a:solidFill>
                  <a:schemeClr val="tx2"/>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586" indent="0">
              <a:buFontTx/>
              <a:buNone/>
              <a:defRPr sz="900" b="0">
                <a:solidFill>
                  <a:schemeClr val="bg1">
                    <a:lumMod val="65000"/>
                  </a:schemeClr>
                </a:solidFill>
              </a:defRPr>
            </a:lvl4pPr>
            <a:lvl5pPr marL="539981" indent="0">
              <a:buFontTx/>
              <a:buNone/>
              <a:defRPr sz="900" b="0">
                <a:solidFill>
                  <a:schemeClr val="bg1">
                    <a:lumMod val="65000"/>
                  </a:schemeClr>
                </a:solidFill>
              </a:defRPr>
            </a:lvl5pPr>
          </a:lstStyle>
          <a:p>
            <a:pPr lvl="0"/>
            <a:r>
              <a:rPr lang="en-US"/>
              <a:t>Click to edit Master text styles</a:t>
            </a:r>
          </a:p>
        </p:txBody>
      </p:sp>
      <p:sp>
        <p:nvSpPr>
          <p:cNvPr id="16" name="TextBox 15"/>
          <p:cNvSpPr txBox="1"/>
          <p:nvPr userDrawn="1"/>
        </p:nvSpPr>
        <p:spPr>
          <a:xfrm>
            <a:off x="2461630" y="6690929"/>
            <a:ext cx="7257143" cy="93059"/>
          </a:xfrm>
          <a:prstGeom prst="rect">
            <a:avLst/>
          </a:prstGeom>
          <a:noFill/>
        </p:spPr>
        <p:txBody>
          <a:bodyPr wrap="square" lIns="0" tIns="0" rIns="0" bIns="0" rtlCol="0">
            <a:noAutofit/>
          </a:bodyPr>
          <a:lstStyle/>
          <a:p>
            <a:pPr marL="0" marR="0" lvl="0" indent="0" algn="ctr" defTabSz="914365" rtl="0" eaLnBrk="1" fontAlgn="auto" latinLnBrk="0" hangingPunct="1">
              <a:lnSpc>
                <a:spcPct val="100000"/>
              </a:lnSpc>
              <a:spcBef>
                <a:spcPts val="0"/>
              </a:spcBef>
              <a:spcAft>
                <a:spcPts val="0"/>
              </a:spcAft>
              <a:buClrTx/>
              <a:buSzTx/>
              <a:buFontTx/>
              <a:buNone/>
              <a:tabLst/>
              <a:defRPr/>
            </a:pPr>
            <a:r>
              <a:rPr lang="en-GB" sz="601" b="1" kern="1200" noProof="0">
                <a:solidFill>
                  <a:schemeClr val="tx1"/>
                </a:solidFill>
                <a:latin typeface="+mn-lt"/>
                <a:ea typeface="+mn-ea"/>
                <a:cs typeface="+mn-cs"/>
              </a:rPr>
              <a:t>Document Classification: KPMG Confidential</a:t>
            </a:r>
          </a:p>
        </p:txBody>
      </p:sp>
      <p:grpSp>
        <p:nvGrpSpPr>
          <p:cNvPr id="17" name="Group 16"/>
          <p:cNvGrpSpPr/>
          <p:nvPr userDrawn="1"/>
        </p:nvGrpSpPr>
        <p:grpSpPr>
          <a:xfrm>
            <a:off x="2112000" y="2706758"/>
            <a:ext cx="3384128" cy="380365"/>
            <a:chOff x="0" y="0"/>
            <a:chExt cx="2552699" cy="383223"/>
          </a:xfrm>
        </p:grpSpPr>
        <p:grpSp>
          <p:nvGrpSpPr>
            <p:cNvPr id="18" name="Group 17"/>
            <p:cNvGrpSpPr/>
            <p:nvPr/>
          </p:nvGrpSpPr>
          <p:grpSpPr>
            <a:xfrm>
              <a:off x="434904" y="953"/>
              <a:ext cx="382681" cy="382270"/>
              <a:chOff x="434904" y="953"/>
              <a:chExt cx="382681" cy="382270"/>
            </a:xfrm>
          </p:grpSpPr>
          <p:sp>
            <p:nvSpPr>
              <p:cNvPr id="36" name="Freeform 35"/>
              <p:cNvSpPr>
                <a:spLocks/>
              </p:cNvSpPr>
              <p:nvPr/>
            </p:nvSpPr>
            <p:spPr bwMode="auto">
              <a:xfrm>
                <a:off x="434904" y="953"/>
                <a:ext cx="382681" cy="382270"/>
              </a:xfrm>
              <a:custGeom>
                <a:avLst/>
                <a:gdLst>
                  <a:gd name="T0" fmla="*/ 1212 w 1276"/>
                  <a:gd name="T1" fmla="*/ 1275 h 1275"/>
                  <a:gd name="T2" fmla="*/ 1226 w 1276"/>
                  <a:gd name="T3" fmla="*/ 1272 h 1275"/>
                  <a:gd name="T4" fmla="*/ 1239 w 1276"/>
                  <a:gd name="T5" fmla="*/ 1267 h 1275"/>
                  <a:gd name="T6" fmla="*/ 1250 w 1276"/>
                  <a:gd name="T7" fmla="*/ 1259 h 1275"/>
                  <a:gd name="T8" fmla="*/ 1259 w 1276"/>
                  <a:gd name="T9" fmla="*/ 1249 h 1275"/>
                  <a:gd name="T10" fmla="*/ 1267 w 1276"/>
                  <a:gd name="T11" fmla="*/ 1239 h 1275"/>
                  <a:gd name="T12" fmla="*/ 1273 w 1276"/>
                  <a:gd name="T13" fmla="*/ 1226 h 1275"/>
                  <a:gd name="T14" fmla="*/ 1275 w 1276"/>
                  <a:gd name="T15" fmla="*/ 1211 h 1275"/>
                  <a:gd name="T16" fmla="*/ 1276 w 1276"/>
                  <a:gd name="T17" fmla="*/ 71 h 1275"/>
                  <a:gd name="T18" fmla="*/ 1274 w 1276"/>
                  <a:gd name="T19" fmla="*/ 56 h 1275"/>
                  <a:gd name="T20" fmla="*/ 1270 w 1276"/>
                  <a:gd name="T21" fmla="*/ 43 h 1275"/>
                  <a:gd name="T22" fmla="*/ 1264 w 1276"/>
                  <a:gd name="T23" fmla="*/ 31 h 1275"/>
                  <a:gd name="T24" fmla="*/ 1254 w 1276"/>
                  <a:gd name="T25" fmla="*/ 20 h 1275"/>
                  <a:gd name="T26" fmla="*/ 1244 w 1276"/>
                  <a:gd name="T27" fmla="*/ 11 h 1275"/>
                  <a:gd name="T28" fmla="*/ 1233 w 1276"/>
                  <a:gd name="T29" fmla="*/ 6 h 1275"/>
                  <a:gd name="T30" fmla="*/ 1219 w 1276"/>
                  <a:gd name="T31" fmla="*/ 1 h 1275"/>
                  <a:gd name="T32" fmla="*/ 1205 w 1276"/>
                  <a:gd name="T33" fmla="*/ 0 h 1275"/>
                  <a:gd name="T34" fmla="*/ 63 w 1276"/>
                  <a:gd name="T35" fmla="*/ 0 h 1275"/>
                  <a:gd name="T36" fmla="*/ 49 w 1276"/>
                  <a:gd name="T37" fmla="*/ 3 h 1275"/>
                  <a:gd name="T38" fmla="*/ 36 w 1276"/>
                  <a:gd name="T39" fmla="*/ 8 h 1275"/>
                  <a:gd name="T40" fmla="*/ 25 w 1276"/>
                  <a:gd name="T41" fmla="*/ 16 h 1275"/>
                  <a:gd name="T42" fmla="*/ 16 w 1276"/>
                  <a:gd name="T43" fmla="*/ 25 h 1275"/>
                  <a:gd name="T44" fmla="*/ 8 w 1276"/>
                  <a:gd name="T45" fmla="*/ 36 h 1275"/>
                  <a:gd name="T46" fmla="*/ 3 w 1276"/>
                  <a:gd name="T47" fmla="*/ 49 h 1275"/>
                  <a:gd name="T48" fmla="*/ 0 w 1276"/>
                  <a:gd name="T49" fmla="*/ 63 h 1275"/>
                  <a:gd name="T50" fmla="*/ 0 w 1276"/>
                  <a:gd name="T51" fmla="*/ 1205 h 1275"/>
                  <a:gd name="T52" fmla="*/ 1 w 1276"/>
                  <a:gd name="T53" fmla="*/ 1219 h 1275"/>
                  <a:gd name="T54" fmla="*/ 6 w 1276"/>
                  <a:gd name="T55" fmla="*/ 1232 h 1275"/>
                  <a:gd name="T56" fmla="*/ 13 w 1276"/>
                  <a:gd name="T57" fmla="*/ 1244 h 1275"/>
                  <a:gd name="T58" fmla="*/ 21 w 1276"/>
                  <a:gd name="T59" fmla="*/ 1255 h 1275"/>
                  <a:gd name="T60" fmla="*/ 31 w 1276"/>
                  <a:gd name="T61" fmla="*/ 1263 h 1275"/>
                  <a:gd name="T62" fmla="*/ 43 w 1276"/>
                  <a:gd name="T63" fmla="*/ 1269 h 1275"/>
                  <a:gd name="T64" fmla="*/ 56 w 1276"/>
                  <a:gd name="T65" fmla="*/ 1274 h 1275"/>
                  <a:gd name="T66" fmla="*/ 71 w 1276"/>
                  <a:gd name="T67" fmla="*/ 1275 h 1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76" h="1275">
                    <a:moveTo>
                      <a:pt x="1205" y="1275"/>
                    </a:moveTo>
                    <a:lnTo>
                      <a:pt x="1212" y="1275"/>
                    </a:lnTo>
                    <a:lnTo>
                      <a:pt x="1219" y="1274"/>
                    </a:lnTo>
                    <a:lnTo>
                      <a:pt x="1226" y="1272"/>
                    </a:lnTo>
                    <a:lnTo>
                      <a:pt x="1233" y="1269"/>
                    </a:lnTo>
                    <a:lnTo>
                      <a:pt x="1239" y="1267"/>
                    </a:lnTo>
                    <a:lnTo>
                      <a:pt x="1244" y="1263"/>
                    </a:lnTo>
                    <a:lnTo>
                      <a:pt x="1250" y="1259"/>
                    </a:lnTo>
                    <a:lnTo>
                      <a:pt x="1254" y="1255"/>
                    </a:lnTo>
                    <a:lnTo>
                      <a:pt x="1259" y="1249"/>
                    </a:lnTo>
                    <a:lnTo>
                      <a:pt x="1264" y="1244"/>
                    </a:lnTo>
                    <a:lnTo>
                      <a:pt x="1267" y="1239"/>
                    </a:lnTo>
                    <a:lnTo>
                      <a:pt x="1270" y="1232"/>
                    </a:lnTo>
                    <a:lnTo>
                      <a:pt x="1273" y="1226"/>
                    </a:lnTo>
                    <a:lnTo>
                      <a:pt x="1274" y="1219"/>
                    </a:lnTo>
                    <a:lnTo>
                      <a:pt x="1275" y="1211"/>
                    </a:lnTo>
                    <a:lnTo>
                      <a:pt x="1276" y="1205"/>
                    </a:lnTo>
                    <a:lnTo>
                      <a:pt x="1276" y="71"/>
                    </a:lnTo>
                    <a:lnTo>
                      <a:pt x="1275" y="63"/>
                    </a:lnTo>
                    <a:lnTo>
                      <a:pt x="1274" y="56"/>
                    </a:lnTo>
                    <a:lnTo>
                      <a:pt x="1273" y="49"/>
                    </a:lnTo>
                    <a:lnTo>
                      <a:pt x="1270" y="43"/>
                    </a:lnTo>
                    <a:lnTo>
                      <a:pt x="1267" y="36"/>
                    </a:lnTo>
                    <a:lnTo>
                      <a:pt x="1264" y="31"/>
                    </a:lnTo>
                    <a:lnTo>
                      <a:pt x="1259" y="25"/>
                    </a:lnTo>
                    <a:lnTo>
                      <a:pt x="1254" y="20"/>
                    </a:lnTo>
                    <a:lnTo>
                      <a:pt x="1250" y="16"/>
                    </a:lnTo>
                    <a:lnTo>
                      <a:pt x="1244" y="11"/>
                    </a:lnTo>
                    <a:lnTo>
                      <a:pt x="1239" y="8"/>
                    </a:lnTo>
                    <a:lnTo>
                      <a:pt x="1233" y="6"/>
                    </a:lnTo>
                    <a:lnTo>
                      <a:pt x="1226" y="3"/>
                    </a:lnTo>
                    <a:lnTo>
                      <a:pt x="1219" y="1"/>
                    </a:lnTo>
                    <a:lnTo>
                      <a:pt x="1212" y="0"/>
                    </a:lnTo>
                    <a:lnTo>
                      <a:pt x="1205" y="0"/>
                    </a:lnTo>
                    <a:lnTo>
                      <a:pt x="71" y="0"/>
                    </a:lnTo>
                    <a:lnTo>
                      <a:pt x="63" y="0"/>
                    </a:lnTo>
                    <a:lnTo>
                      <a:pt x="56" y="1"/>
                    </a:lnTo>
                    <a:lnTo>
                      <a:pt x="49" y="3"/>
                    </a:lnTo>
                    <a:lnTo>
                      <a:pt x="43" y="6"/>
                    </a:lnTo>
                    <a:lnTo>
                      <a:pt x="36" y="8"/>
                    </a:lnTo>
                    <a:lnTo>
                      <a:pt x="31" y="11"/>
                    </a:lnTo>
                    <a:lnTo>
                      <a:pt x="25" y="16"/>
                    </a:lnTo>
                    <a:lnTo>
                      <a:pt x="21" y="20"/>
                    </a:lnTo>
                    <a:lnTo>
                      <a:pt x="16" y="25"/>
                    </a:lnTo>
                    <a:lnTo>
                      <a:pt x="13" y="31"/>
                    </a:lnTo>
                    <a:lnTo>
                      <a:pt x="8" y="36"/>
                    </a:lnTo>
                    <a:lnTo>
                      <a:pt x="6" y="43"/>
                    </a:lnTo>
                    <a:lnTo>
                      <a:pt x="3" y="49"/>
                    </a:lnTo>
                    <a:lnTo>
                      <a:pt x="1" y="56"/>
                    </a:lnTo>
                    <a:lnTo>
                      <a:pt x="0" y="63"/>
                    </a:lnTo>
                    <a:lnTo>
                      <a:pt x="0" y="71"/>
                    </a:lnTo>
                    <a:lnTo>
                      <a:pt x="0" y="1205"/>
                    </a:lnTo>
                    <a:lnTo>
                      <a:pt x="0" y="1211"/>
                    </a:lnTo>
                    <a:lnTo>
                      <a:pt x="1" y="1219"/>
                    </a:lnTo>
                    <a:lnTo>
                      <a:pt x="3" y="1226"/>
                    </a:lnTo>
                    <a:lnTo>
                      <a:pt x="6" y="1232"/>
                    </a:lnTo>
                    <a:lnTo>
                      <a:pt x="8" y="1239"/>
                    </a:lnTo>
                    <a:lnTo>
                      <a:pt x="13" y="1244"/>
                    </a:lnTo>
                    <a:lnTo>
                      <a:pt x="16" y="1249"/>
                    </a:lnTo>
                    <a:lnTo>
                      <a:pt x="21" y="1255"/>
                    </a:lnTo>
                    <a:lnTo>
                      <a:pt x="25" y="1259"/>
                    </a:lnTo>
                    <a:lnTo>
                      <a:pt x="31" y="1263"/>
                    </a:lnTo>
                    <a:lnTo>
                      <a:pt x="36" y="1267"/>
                    </a:lnTo>
                    <a:lnTo>
                      <a:pt x="43" y="1269"/>
                    </a:lnTo>
                    <a:lnTo>
                      <a:pt x="49" y="1272"/>
                    </a:lnTo>
                    <a:lnTo>
                      <a:pt x="56" y="1274"/>
                    </a:lnTo>
                    <a:lnTo>
                      <a:pt x="63" y="1275"/>
                    </a:lnTo>
                    <a:lnTo>
                      <a:pt x="71" y="1275"/>
                    </a:lnTo>
                    <a:lnTo>
                      <a:pt x="1205" y="1275"/>
                    </a:lnTo>
                    <a:close/>
                  </a:path>
                </a:pathLst>
              </a:custGeom>
              <a:solidFill>
                <a:srgbClr val="00689E"/>
              </a:solidFill>
              <a:ln w="12700">
                <a:solidFill>
                  <a:sysClr val="window" lastClr="FFFFFF"/>
                </a:solidFill>
                <a:round/>
                <a:headEnd/>
                <a:tailEnd/>
              </a:ln>
            </p:spPr>
            <p:txBody>
              <a:bodyPr vert="horz" wrap="square" lIns="91440" tIns="45720" rIns="91440" bIns="45720" numCol="1" anchor="t" anchorCtr="0" compatLnSpc="1">
                <a:prstTxWarp prst="textNoShape">
                  <a:avLst/>
                </a:prstTxWarp>
              </a:bodyPr>
              <a:lstStyle/>
              <a:p>
                <a:endParaRPr lang="en-US" sz="1600"/>
              </a:p>
            </p:txBody>
          </p:sp>
          <p:sp>
            <p:nvSpPr>
              <p:cNvPr id="37" name="Freeform 36"/>
              <p:cNvSpPr>
                <a:spLocks noEditPoints="1"/>
              </p:cNvSpPr>
              <p:nvPr/>
            </p:nvSpPr>
            <p:spPr bwMode="auto">
              <a:xfrm>
                <a:off x="491931" y="51922"/>
                <a:ext cx="66031" cy="274335"/>
              </a:xfrm>
              <a:custGeom>
                <a:avLst/>
                <a:gdLst>
                  <a:gd name="T0" fmla="*/ 204 w 219"/>
                  <a:gd name="T1" fmla="*/ 303 h 912"/>
                  <a:gd name="T2" fmla="*/ 15 w 219"/>
                  <a:gd name="T3" fmla="*/ 912 h 912"/>
                  <a:gd name="T4" fmla="*/ 110 w 219"/>
                  <a:gd name="T5" fmla="*/ 0 h 912"/>
                  <a:gd name="T6" fmla="*/ 131 w 219"/>
                  <a:gd name="T7" fmla="*/ 2 h 912"/>
                  <a:gd name="T8" fmla="*/ 152 w 219"/>
                  <a:gd name="T9" fmla="*/ 9 h 912"/>
                  <a:gd name="T10" fmla="*/ 171 w 219"/>
                  <a:gd name="T11" fmla="*/ 20 h 912"/>
                  <a:gd name="T12" fmla="*/ 187 w 219"/>
                  <a:gd name="T13" fmla="*/ 33 h 912"/>
                  <a:gd name="T14" fmla="*/ 201 w 219"/>
                  <a:gd name="T15" fmla="*/ 49 h 912"/>
                  <a:gd name="T16" fmla="*/ 211 w 219"/>
                  <a:gd name="T17" fmla="*/ 67 h 912"/>
                  <a:gd name="T18" fmla="*/ 217 w 219"/>
                  <a:gd name="T19" fmla="*/ 88 h 912"/>
                  <a:gd name="T20" fmla="*/ 219 w 219"/>
                  <a:gd name="T21" fmla="*/ 111 h 912"/>
                  <a:gd name="T22" fmla="*/ 217 w 219"/>
                  <a:gd name="T23" fmla="*/ 132 h 912"/>
                  <a:gd name="T24" fmla="*/ 211 w 219"/>
                  <a:gd name="T25" fmla="*/ 153 h 912"/>
                  <a:gd name="T26" fmla="*/ 201 w 219"/>
                  <a:gd name="T27" fmla="*/ 172 h 912"/>
                  <a:gd name="T28" fmla="*/ 187 w 219"/>
                  <a:gd name="T29" fmla="*/ 188 h 912"/>
                  <a:gd name="T30" fmla="*/ 171 w 219"/>
                  <a:gd name="T31" fmla="*/ 202 h 912"/>
                  <a:gd name="T32" fmla="*/ 152 w 219"/>
                  <a:gd name="T33" fmla="*/ 212 h 912"/>
                  <a:gd name="T34" fmla="*/ 131 w 219"/>
                  <a:gd name="T35" fmla="*/ 218 h 912"/>
                  <a:gd name="T36" fmla="*/ 110 w 219"/>
                  <a:gd name="T37" fmla="*/ 220 h 912"/>
                  <a:gd name="T38" fmla="*/ 88 w 219"/>
                  <a:gd name="T39" fmla="*/ 218 h 912"/>
                  <a:gd name="T40" fmla="*/ 67 w 219"/>
                  <a:gd name="T41" fmla="*/ 212 h 912"/>
                  <a:gd name="T42" fmla="*/ 48 w 219"/>
                  <a:gd name="T43" fmla="*/ 202 h 912"/>
                  <a:gd name="T44" fmla="*/ 32 w 219"/>
                  <a:gd name="T45" fmla="*/ 188 h 912"/>
                  <a:gd name="T46" fmla="*/ 18 w 219"/>
                  <a:gd name="T47" fmla="*/ 172 h 912"/>
                  <a:gd name="T48" fmla="*/ 8 w 219"/>
                  <a:gd name="T49" fmla="*/ 153 h 912"/>
                  <a:gd name="T50" fmla="*/ 2 w 219"/>
                  <a:gd name="T51" fmla="*/ 132 h 912"/>
                  <a:gd name="T52" fmla="*/ 0 w 219"/>
                  <a:gd name="T53" fmla="*/ 111 h 912"/>
                  <a:gd name="T54" fmla="*/ 2 w 219"/>
                  <a:gd name="T55" fmla="*/ 88 h 912"/>
                  <a:gd name="T56" fmla="*/ 8 w 219"/>
                  <a:gd name="T57" fmla="*/ 67 h 912"/>
                  <a:gd name="T58" fmla="*/ 18 w 219"/>
                  <a:gd name="T59" fmla="*/ 49 h 912"/>
                  <a:gd name="T60" fmla="*/ 32 w 219"/>
                  <a:gd name="T61" fmla="*/ 33 h 912"/>
                  <a:gd name="T62" fmla="*/ 48 w 219"/>
                  <a:gd name="T63" fmla="*/ 20 h 912"/>
                  <a:gd name="T64" fmla="*/ 67 w 219"/>
                  <a:gd name="T65" fmla="*/ 9 h 912"/>
                  <a:gd name="T66" fmla="*/ 88 w 219"/>
                  <a:gd name="T67" fmla="*/ 2 h 912"/>
                  <a:gd name="T68" fmla="*/ 110 w 219"/>
                  <a:gd name="T69" fmla="*/ 0 h 9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9" h="912">
                    <a:moveTo>
                      <a:pt x="15" y="303"/>
                    </a:moveTo>
                    <a:lnTo>
                      <a:pt x="204" y="303"/>
                    </a:lnTo>
                    <a:lnTo>
                      <a:pt x="204" y="912"/>
                    </a:lnTo>
                    <a:lnTo>
                      <a:pt x="15" y="912"/>
                    </a:lnTo>
                    <a:lnTo>
                      <a:pt x="15" y="303"/>
                    </a:lnTo>
                    <a:close/>
                    <a:moveTo>
                      <a:pt x="110" y="0"/>
                    </a:moveTo>
                    <a:lnTo>
                      <a:pt x="121" y="1"/>
                    </a:lnTo>
                    <a:lnTo>
                      <a:pt x="131" y="2"/>
                    </a:lnTo>
                    <a:lnTo>
                      <a:pt x="143" y="6"/>
                    </a:lnTo>
                    <a:lnTo>
                      <a:pt x="152" y="9"/>
                    </a:lnTo>
                    <a:lnTo>
                      <a:pt x="162" y="14"/>
                    </a:lnTo>
                    <a:lnTo>
                      <a:pt x="171" y="20"/>
                    </a:lnTo>
                    <a:lnTo>
                      <a:pt x="179" y="25"/>
                    </a:lnTo>
                    <a:lnTo>
                      <a:pt x="187" y="33"/>
                    </a:lnTo>
                    <a:lnTo>
                      <a:pt x="194" y="41"/>
                    </a:lnTo>
                    <a:lnTo>
                      <a:pt x="201" y="49"/>
                    </a:lnTo>
                    <a:lnTo>
                      <a:pt x="206" y="58"/>
                    </a:lnTo>
                    <a:lnTo>
                      <a:pt x="211" y="67"/>
                    </a:lnTo>
                    <a:lnTo>
                      <a:pt x="214" y="78"/>
                    </a:lnTo>
                    <a:lnTo>
                      <a:pt x="217" y="88"/>
                    </a:lnTo>
                    <a:lnTo>
                      <a:pt x="219" y="99"/>
                    </a:lnTo>
                    <a:lnTo>
                      <a:pt x="219" y="111"/>
                    </a:lnTo>
                    <a:lnTo>
                      <a:pt x="219" y="122"/>
                    </a:lnTo>
                    <a:lnTo>
                      <a:pt x="217" y="132"/>
                    </a:lnTo>
                    <a:lnTo>
                      <a:pt x="214" y="142"/>
                    </a:lnTo>
                    <a:lnTo>
                      <a:pt x="211" y="153"/>
                    </a:lnTo>
                    <a:lnTo>
                      <a:pt x="206" y="163"/>
                    </a:lnTo>
                    <a:lnTo>
                      <a:pt x="201" y="172"/>
                    </a:lnTo>
                    <a:lnTo>
                      <a:pt x="194" y="180"/>
                    </a:lnTo>
                    <a:lnTo>
                      <a:pt x="187" y="188"/>
                    </a:lnTo>
                    <a:lnTo>
                      <a:pt x="179" y="195"/>
                    </a:lnTo>
                    <a:lnTo>
                      <a:pt x="171" y="202"/>
                    </a:lnTo>
                    <a:lnTo>
                      <a:pt x="162" y="207"/>
                    </a:lnTo>
                    <a:lnTo>
                      <a:pt x="152" y="212"/>
                    </a:lnTo>
                    <a:lnTo>
                      <a:pt x="143" y="215"/>
                    </a:lnTo>
                    <a:lnTo>
                      <a:pt x="131" y="218"/>
                    </a:lnTo>
                    <a:lnTo>
                      <a:pt x="121" y="220"/>
                    </a:lnTo>
                    <a:lnTo>
                      <a:pt x="110" y="220"/>
                    </a:lnTo>
                    <a:lnTo>
                      <a:pt x="98" y="220"/>
                    </a:lnTo>
                    <a:lnTo>
                      <a:pt x="88" y="218"/>
                    </a:lnTo>
                    <a:lnTo>
                      <a:pt x="77" y="215"/>
                    </a:lnTo>
                    <a:lnTo>
                      <a:pt x="67" y="212"/>
                    </a:lnTo>
                    <a:lnTo>
                      <a:pt x="57" y="207"/>
                    </a:lnTo>
                    <a:lnTo>
                      <a:pt x="48" y="202"/>
                    </a:lnTo>
                    <a:lnTo>
                      <a:pt x="40" y="195"/>
                    </a:lnTo>
                    <a:lnTo>
                      <a:pt x="32" y="188"/>
                    </a:lnTo>
                    <a:lnTo>
                      <a:pt x="25" y="180"/>
                    </a:lnTo>
                    <a:lnTo>
                      <a:pt x="18" y="172"/>
                    </a:lnTo>
                    <a:lnTo>
                      <a:pt x="13" y="163"/>
                    </a:lnTo>
                    <a:lnTo>
                      <a:pt x="8" y="153"/>
                    </a:lnTo>
                    <a:lnTo>
                      <a:pt x="5" y="142"/>
                    </a:lnTo>
                    <a:lnTo>
                      <a:pt x="2" y="132"/>
                    </a:lnTo>
                    <a:lnTo>
                      <a:pt x="0" y="122"/>
                    </a:lnTo>
                    <a:lnTo>
                      <a:pt x="0" y="111"/>
                    </a:lnTo>
                    <a:lnTo>
                      <a:pt x="0" y="99"/>
                    </a:lnTo>
                    <a:lnTo>
                      <a:pt x="2" y="88"/>
                    </a:lnTo>
                    <a:lnTo>
                      <a:pt x="5" y="78"/>
                    </a:lnTo>
                    <a:lnTo>
                      <a:pt x="8" y="67"/>
                    </a:lnTo>
                    <a:lnTo>
                      <a:pt x="13" y="58"/>
                    </a:lnTo>
                    <a:lnTo>
                      <a:pt x="18" y="49"/>
                    </a:lnTo>
                    <a:lnTo>
                      <a:pt x="25" y="41"/>
                    </a:lnTo>
                    <a:lnTo>
                      <a:pt x="32" y="33"/>
                    </a:lnTo>
                    <a:lnTo>
                      <a:pt x="40" y="25"/>
                    </a:lnTo>
                    <a:lnTo>
                      <a:pt x="48" y="20"/>
                    </a:lnTo>
                    <a:lnTo>
                      <a:pt x="57" y="14"/>
                    </a:lnTo>
                    <a:lnTo>
                      <a:pt x="67" y="9"/>
                    </a:lnTo>
                    <a:lnTo>
                      <a:pt x="77" y="6"/>
                    </a:lnTo>
                    <a:lnTo>
                      <a:pt x="88" y="2"/>
                    </a:lnTo>
                    <a:lnTo>
                      <a:pt x="98" y="1"/>
                    </a:lnTo>
                    <a:lnTo>
                      <a:pt x="11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38" name="Freeform 37"/>
              <p:cNvSpPr>
                <a:spLocks/>
              </p:cNvSpPr>
              <p:nvPr/>
            </p:nvSpPr>
            <p:spPr bwMode="auto">
              <a:xfrm>
                <a:off x="587976" y="138869"/>
                <a:ext cx="177084" cy="187388"/>
              </a:xfrm>
              <a:custGeom>
                <a:avLst/>
                <a:gdLst>
                  <a:gd name="T0" fmla="*/ 181 w 590"/>
                  <a:gd name="T1" fmla="*/ 15 h 624"/>
                  <a:gd name="T2" fmla="*/ 184 w 590"/>
                  <a:gd name="T3" fmla="*/ 98 h 624"/>
                  <a:gd name="T4" fmla="*/ 196 w 590"/>
                  <a:gd name="T5" fmla="*/ 81 h 624"/>
                  <a:gd name="T6" fmla="*/ 209 w 590"/>
                  <a:gd name="T7" fmla="*/ 63 h 624"/>
                  <a:gd name="T8" fmla="*/ 227 w 590"/>
                  <a:gd name="T9" fmla="*/ 46 h 624"/>
                  <a:gd name="T10" fmla="*/ 248 w 590"/>
                  <a:gd name="T11" fmla="*/ 31 h 624"/>
                  <a:gd name="T12" fmla="*/ 273 w 590"/>
                  <a:gd name="T13" fmla="*/ 18 h 624"/>
                  <a:gd name="T14" fmla="*/ 299 w 590"/>
                  <a:gd name="T15" fmla="*/ 9 h 624"/>
                  <a:gd name="T16" fmla="*/ 330 w 590"/>
                  <a:gd name="T17" fmla="*/ 3 h 624"/>
                  <a:gd name="T18" fmla="*/ 363 w 590"/>
                  <a:gd name="T19" fmla="*/ 0 h 624"/>
                  <a:gd name="T20" fmla="*/ 397 w 590"/>
                  <a:gd name="T21" fmla="*/ 1 h 624"/>
                  <a:gd name="T22" fmla="*/ 428 w 590"/>
                  <a:gd name="T23" fmla="*/ 6 h 624"/>
                  <a:gd name="T24" fmla="*/ 455 w 590"/>
                  <a:gd name="T25" fmla="*/ 13 h 624"/>
                  <a:gd name="T26" fmla="*/ 479 w 590"/>
                  <a:gd name="T27" fmla="*/ 22 h 624"/>
                  <a:gd name="T28" fmla="*/ 501 w 590"/>
                  <a:gd name="T29" fmla="*/ 34 h 624"/>
                  <a:gd name="T30" fmla="*/ 519 w 590"/>
                  <a:gd name="T31" fmla="*/ 49 h 624"/>
                  <a:gd name="T32" fmla="*/ 535 w 590"/>
                  <a:gd name="T33" fmla="*/ 65 h 624"/>
                  <a:gd name="T34" fmla="*/ 549 w 590"/>
                  <a:gd name="T35" fmla="*/ 83 h 624"/>
                  <a:gd name="T36" fmla="*/ 559 w 590"/>
                  <a:gd name="T37" fmla="*/ 104 h 624"/>
                  <a:gd name="T38" fmla="*/ 568 w 590"/>
                  <a:gd name="T39" fmla="*/ 127 h 624"/>
                  <a:gd name="T40" fmla="*/ 582 w 590"/>
                  <a:gd name="T41" fmla="*/ 176 h 624"/>
                  <a:gd name="T42" fmla="*/ 588 w 590"/>
                  <a:gd name="T43" fmla="*/ 230 h 624"/>
                  <a:gd name="T44" fmla="*/ 590 w 590"/>
                  <a:gd name="T45" fmla="*/ 291 h 624"/>
                  <a:gd name="T46" fmla="*/ 401 w 590"/>
                  <a:gd name="T47" fmla="*/ 624 h 624"/>
                  <a:gd name="T48" fmla="*/ 401 w 590"/>
                  <a:gd name="T49" fmla="*/ 301 h 624"/>
                  <a:gd name="T50" fmla="*/ 397 w 590"/>
                  <a:gd name="T51" fmla="*/ 259 h 624"/>
                  <a:gd name="T52" fmla="*/ 393 w 590"/>
                  <a:gd name="T53" fmla="*/ 232 h 624"/>
                  <a:gd name="T54" fmla="*/ 382 w 590"/>
                  <a:gd name="T55" fmla="*/ 210 h 624"/>
                  <a:gd name="T56" fmla="*/ 369 w 590"/>
                  <a:gd name="T57" fmla="*/ 189 h 624"/>
                  <a:gd name="T58" fmla="*/ 347 w 590"/>
                  <a:gd name="T59" fmla="*/ 176 h 624"/>
                  <a:gd name="T60" fmla="*/ 320 w 590"/>
                  <a:gd name="T61" fmla="*/ 168 h 624"/>
                  <a:gd name="T62" fmla="*/ 284 w 590"/>
                  <a:gd name="T63" fmla="*/ 168 h 624"/>
                  <a:gd name="T64" fmla="*/ 255 w 590"/>
                  <a:gd name="T65" fmla="*/ 174 h 624"/>
                  <a:gd name="T66" fmla="*/ 232 w 590"/>
                  <a:gd name="T67" fmla="*/ 187 h 624"/>
                  <a:gd name="T68" fmla="*/ 215 w 590"/>
                  <a:gd name="T69" fmla="*/ 204 h 624"/>
                  <a:gd name="T70" fmla="*/ 204 w 590"/>
                  <a:gd name="T71" fmla="*/ 227 h 624"/>
                  <a:gd name="T72" fmla="*/ 196 w 590"/>
                  <a:gd name="T73" fmla="*/ 252 h 624"/>
                  <a:gd name="T74" fmla="*/ 191 w 590"/>
                  <a:gd name="T75" fmla="*/ 279 h 624"/>
                  <a:gd name="T76" fmla="*/ 189 w 590"/>
                  <a:gd name="T77" fmla="*/ 308 h 624"/>
                  <a:gd name="T78" fmla="*/ 189 w 590"/>
                  <a:gd name="T79" fmla="*/ 624 h 624"/>
                  <a:gd name="T80" fmla="*/ 0 w 590"/>
                  <a:gd name="T81" fmla="*/ 15 h 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90" h="624">
                    <a:moveTo>
                      <a:pt x="0" y="15"/>
                    </a:moveTo>
                    <a:lnTo>
                      <a:pt x="181" y="15"/>
                    </a:lnTo>
                    <a:lnTo>
                      <a:pt x="181" y="98"/>
                    </a:lnTo>
                    <a:lnTo>
                      <a:pt x="184" y="98"/>
                    </a:lnTo>
                    <a:lnTo>
                      <a:pt x="189" y="89"/>
                    </a:lnTo>
                    <a:lnTo>
                      <a:pt x="196" y="81"/>
                    </a:lnTo>
                    <a:lnTo>
                      <a:pt x="202" y="72"/>
                    </a:lnTo>
                    <a:lnTo>
                      <a:pt x="209" y="63"/>
                    </a:lnTo>
                    <a:lnTo>
                      <a:pt x="218" y="55"/>
                    </a:lnTo>
                    <a:lnTo>
                      <a:pt x="227" y="46"/>
                    </a:lnTo>
                    <a:lnTo>
                      <a:pt x="238" y="39"/>
                    </a:lnTo>
                    <a:lnTo>
                      <a:pt x="248" y="31"/>
                    </a:lnTo>
                    <a:lnTo>
                      <a:pt x="261" y="24"/>
                    </a:lnTo>
                    <a:lnTo>
                      <a:pt x="273" y="18"/>
                    </a:lnTo>
                    <a:lnTo>
                      <a:pt x="286" y="13"/>
                    </a:lnTo>
                    <a:lnTo>
                      <a:pt x="299" y="9"/>
                    </a:lnTo>
                    <a:lnTo>
                      <a:pt x="314" y="5"/>
                    </a:lnTo>
                    <a:lnTo>
                      <a:pt x="330" y="3"/>
                    </a:lnTo>
                    <a:lnTo>
                      <a:pt x="346" y="0"/>
                    </a:lnTo>
                    <a:lnTo>
                      <a:pt x="363" y="0"/>
                    </a:lnTo>
                    <a:lnTo>
                      <a:pt x="380" y="0"/>
                    </a:lnTo>
                    <a:lnTo>
                      <a:pt x="397" y="1"/>
                    </a:lnTo>
                    <a:lnTo>
                      <a:pt x="413" y="4"/>
                    </a:lnTo>
                    <a:lnTo>
                      <a:pt x="428" y="6"/>
                    </a:lnTo>
                    <a:lnTo>
                      <a:pt x="442" y="9"/>
                    </a:lnTo>
                    <a:lnTo>
                      <a:pt x="455" y="13"/>
                    </a:lnTo>
                    <a:lnTo>
                      <a:pt x="468" y="17"/>
                    </a:lnTo>
                    <a:lnTo>
                      <a:pt x="479" y="22"/>
                    </a:lnTo>
                    <a:lnTo>
                      <a:pt x="491" y="28"/>
                    </a:lnTo>
                    <a:lnTo>
                      <a:pt x="501" y="34"/>
                    </a:lnTo>
                    <a:lnTo>
                      <a:pt x="510" y="41"/>
                    </a:lnTo>
                    <a:lnTo>
                      <a:pt x="519" y="49"/>
                    </a:lnTo>
                    <a:lnTo>
                      <a:pt x="527" y="57"/>
                    </a:lnTo>
                    <a:lnTo>
                      <a:pt x="535" y="65"/>
                    </a:lnTo>
                    <a:lnTo>
                      <a:pt x="542" y="74"/>
                    </a:lnTo>
                    <a:lnTo>
                      <a:pt x="549" y="83"/>
                    </a:lnTo>
                    <a:lnTo>
                      <a:pt x="554" y="94"/>
                    </a:lnTo>
                    <a:lnTo>
                      <a:pt x="559" y="104"/>
                    </a:lnTo>
                    <a:lnTo>
                      <a:pt x="565" y="115"/>
                    </a:lnTo>
                    <a:lnTo>
                      <a:pt x="568" y="127"/>
                    </a:lnTo>
                    <a:lnTo>
                      <a:pt x="576" y="151"/>
                    </a:lnTo>
                    <a:lnTo>
                      <a:pt x="582" y="176"/>
                    </a:lnTo>
                    <a:lnTo>
                      <a:pt x="585" y="203"/>
                    </a:lnTo>
                    <a:lnTo>
                      <a:pt x="588" y="230"/>
                    </a:lnTo>
                    <a:lnTo>
                      <a:pt x="590" y="260"/>
                    </a:lnTo>
                    <a:lnTo>
                      <a:pt x="590" y="291"/>
                    </a:lnTo>
                    <a:lnTo>
                      <a:pt x="590" y="624"/>
                    </a:lnTo>
                    <a:lnTo>
                      <a:pt x="401" y="624"/>
                    </a:lnTo>
                    <a:lnTo>
                      <a:pt x="401" y="328"/>
                    </a:lnTo>
                    <a:lnTo>
                      <a:pt x="401" y="301"/>
                    </a:lnTo>
                    <a:lnTo>
                      <a:pt x="400" y="273"/>
                    </a:lnTo>
                    <a:lnTo>
                      <a:pt x="397" y="259"/>
                    </a:lnTo>
                    <a:lnTo>
                      <a:pt x="395" y="246"/>
                    </a:lnTo>
                    <a:lnTo>
                      <a:pt x="393" y="232"/>
                    </a:lnTo>
                    <a:lnTo>
                      <a:pt x="388" y="221"/>
                    </a:lnTo>
                    <a:lnTo>
                      <a:pt x="382" y="210"/>
                    </a:lnTo>
                    <a:lnTo>
                      <a:pt x="377" y="199"/>
                    </a:lnTo>
                    <a:lnTo>
                      <a:pt x="369" y="189"/>
                    </a:lnTo>
                    <a:lnTo>
                      <a:pt x="359" y="182"/>
                    </a:lnTo>
                    <a:lnTo>
                      <a:pt x="347" y="176"/>
                    </a:lnTo>
                    <a:lnTo>
                      <a:pt x="335" y="171"/>
                    </a:lnTo>
                    <a:lnTo>
                      <a:pt x="320" y="168"/>
                    </a:lnTo>
                    <a:lnTo>
                      <a:pt x="303" y="166"/>
                    </a:lnTo>
                    <a:lnTo>
                      <a:pt x="284" y="168"/>
                    </a:lnTo>
                    <a:lnTo>
                      <a:pt x="270" y="170"/>
                    </a:lnTo>
                    <a:lnTo>
                      <a:pt x="255" y="174"/>
                    </a:lnTo>
                    <a:lnTo>
                      <a:pt x="243" y="180"/>
                    </a:lnTo>
                    <a:lnTo>
                      <a:pt x="232" y="187"/>
                    </a:lnTo>
                    <a:lnTo>
                      <a:pt x="223" y="195"/>
                    </a:lnTo>
                    <a:lnTo>
                      <a:pt x="215" y="204"/>
                    </a:lnTo>
                    <a:lnTo>
                      <a:pt x="209" y="215"/>
                    </a:lnTo>
                    <a:lnTo>
                      <a:pt x="204" y="227"/>
                    </a:lnTo>
                    <a:lnTo>
                      <a:pt x="199" y="238"/>
                    </a:lnTo>
                    <a:lnTo>
                      <a:pt x="196" y="252"/>
                    </a:lnTo>
                    <a:lnTo>
                      <a:pt x="193" y="264"/>
                    </a:lnTo>
                    <a:lnTo>
                      <a:pt x="191" y="279"/>
                    </a:lnTo>
                    <a:lnTo>
                      <a:pt x="190" y="293"/>
                    </a:lnTo>
                    <a:lnTo>
                      <a:pt x="189" y="308"/>
                    </a:lnTo>
                    <a:lnTo>
                      <a:pt x="189" y="322"/>
                    </a:lnTo>
                    <a:lnTo>
                      <a:pt x="189" y="624"/>
                    </a:lnTo>
                    <a:lnTo>
                      <a:pt x="0" y="624"/>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grpSp>
          <p:nvGrpSpPr>
            <p:cNvPr id="19" name="Group 18"/>
            <p:cNvGrpSpPr/>
            <p:nvPr/>
          </p:nvGrpSpPr>
          <p:grpSpPr>
            <a:xfrm>
              <a:off x="869808" y="953"/>
              <a:ext cx="382681" cy="382270"/>
              <a:chOff x="869808" y="953"/>
              <a:chExt cx="382681" cy="382270"/>
            </a:xfrm>
          </p:grpSpPr>
          <p:sp>
            <p:nvSpPr>
              <p:cNvPr id="34" name="Freeform 33"/>
              <p:cNvSpPr>
                <a:spLocks/>
              </p:cNvSpPr>
              <p:nvPr/>
            </p:nvSpPr>
            <p:spPr bwMode="auto">
              <a:xfrm>
                <a:off x="869808" y="953"/>
                <a:ext cx="382681" cy="382270"/>
              </a:xfrm>
              <a:custGeom>
                <a:avLst/>
                <a:gdLst>
                  <a:gd name="T0" fmla="*/ 1212 w 1276"/>
                  <a:gd name="T1" fmla="*/ 1275 h 1275"/>
                  <a:gd name="T2" fmla="*/ 1226 w 1276"/>
                  <a:gd name="T3" fmla="*/ 1272 h 1275"/>
                  <a:gd name="T4" fmla="*/ 1239 w 1276"/>
                  <a:gd name="T5" fmla="*/ 1267 h 1275"/>
                  <a:gd name="T6" fmla="*/ 1250 w 1276"/>
                  <a:gd name="T7" fmla="*/ 1259 h 1275"/>
                  <a:gd name="T8" fmla="*/ 1259 w 1276"/>
                  <a:gd name="T9" fmla="*/ 1249 h 1275"/>
                  <a:gd name="T10" fmla="*/ 1267 w 1276"/>
                  <a:gd name="T11" fmla="*/ 1239 h 1275"/>
                  <a:gd name="T12" fmla="*/ 1273 w 1276"/>
                  <a:gd name="T13" fmla="*/ 1226 h 1275"/>
                  <a:gd name="T14" fmla="*/ 1275 w 1276"/>
                  <a:gd name="T15" fmla="*/ 1211 h 1275"/>
                  <a:gd name="T16" fmla="*/ 1276 w 1276"/>
                  <a:gd name="T17" fmla="*/ 71 h 1275"/>
                  <a:gd name="T18" fmla="*/ 1274 w 1276"/>
                  <a:gd name="T19" fmla="*/ 56 h 1275"/>
                  <a:gd name="T20" fmla="*/ 1270 w 1276"/>
                  <a:gd name="T21" fmla="*/ 43 h 1275"/>
                  <a:gd name="T22" fmla="*/ 1264 w 1276"/>
                  <a:gd name="T23" fmla="*/ 31 h 1275"/>
                  <a:gd name="T24" fmla="*/ 1254 w 1276"/>
                  <a:gd name="T25" fmla="*/ 20 h 1275"/>
                  <a:gd name="T26" fmla="*/ 1244 w 1276"/>
                  <a:gd name="T27" fmla="*/ 11 h 1275"/>
                  <a:gd name="T28" fmla="*/ 1233 w 1276"/>
                  <a:gd name="T29" fmla="*/ 6 h 1275"/>
                  <a:gd name="T30" fmla="*/ 1219 w 1276"/>
                  <a:gd name="T31" fmla="*/ 1 h 1275"/>
                  <a:gd name="T32" fmla="*/ 1205 w 1276"/>
                  <a:gd name="T33" fmla="*/ 0 h 1275"/>
                  <a:gd name="T34" fmla="*/ 63 w 1276"/>
                  <a:gd name="T35" fmla="*/ 0 h 1275"/>
                  <a:gd name="T36" fmla="*/ 49 w 1276"/>
                  <a:gd name="T37" fmla="*/ 3 h 1275"/>
                  <a:gd name="T38" fmla="*/ 36 w 1276"/>
                  <a:gd name="T39" fmla="*/ 8 h 1275"/>
                  <a:gd name="T40" fmla="*/ 25 w 1276"/>
                  <a:gd name="T41" fmla="*/ 16 h 1275"/>
                  <a:gd name="T42" fmla="*/ 16 w 1276"/>
                  <a:gd name="T43" fmla="*/ 25 h 1275"/>
                  <a:gd name="T44" fmla="*/ 8 w 1276"/>
                  <a:gd name="T45" fmla="*/ 36 h 1275"/>
                  <a:gd name="T46" fmla="*/ 3 w 1276"/>
                  <a:gd name="T47" fmla="*/ 49 h 1275"/>
                  <a:gd name="T48" fmla="*/ 0 w 1276"/>
                  <a:gd name="T49" fmla="*/ 63 h 1275"/>
                  <a:gd name="T50" fmla="*/ 0 w 1276"/>
                  <a:gd name="T51" fmla="*/ 1205 h 1275"/>
                  <a:gd name="T52" fmla="*/ 1 w 1276"/>
                  <a:gd name="T53" fmla="*/ 1219 h 1275"/>
                  <a:gd name="T54" fmla="*/ 6 w 1276"/>
                  <a:gd name="T55" fmla="*/ 1232 h 1275"/>
                  <a:gd name="T56" fmla="*/ 13 w 1276"/>
                  <a:gd name="T57" fmla="*/ 1244 h 1275"/>
                  <a:gd name="T58" fmla="*/ 21 w 1276"/>
                  <a:gd name="T59" fmla="*/ 1255 h 1275"/>
                  <a:gd name="T60" fmla="*/ 31 w 1276"/>
                  <a:gd name="T61" fmla="*/ 1263 h 1275"/>
                  <a:gd name="T62" fmla="*/ 43 w 1276"/>
                  <a:gd name="T63" fmla="*/ 1269 h 1275"/>
                  <a:gd name="T64" fmla="*/ 56 w 1276"/>
                  <a:gd name="T65" fmla="*/ 1274 h 1275"/>
                  <a:gd name="T66" fmla="*/ 71 w 1276"/>
                  <a:gd name="T67" fmla="*/ 1275 h 1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76" h="1275">
                    <a:moveTo>
                      <a:pt x="1205" y="1275"/>
                    </a:moveTo>
                    <a:lnTo>
                      <a:pt x="1212" y="1275"/>
                    </a:lnTo>
                    <a:lnTo>
                      <a:pt x="1219" y="1274"/>
                    </a:lnTo>
                    <a:lnTo>
                      <a:pt x="1226" y="1272"/>
                    </a:lnTo>
                    <a:lnTo>
                      <a:pt x="1233" y="1269"/>
                    </a:lnTo>
                    <a:lnTo>
                      <a:pt x="1239" y="1267"/>
                    </a:lnTo>
                    <a:lnTo>
                      <a:pt x="1244" y="1263"/>
                    </a:lnTo>
                    <a:lnTo>
                      <a:pt x="1250" y="1259"/>
                    </a:lnTo>
                    <a:lnTo>
                      <a:pt x="1254" y="1255"/>
                    </a:lnTo>
                    <a:lnTo>
                      <a:pt x="1259" y="1249"/>
                    </a:lnTo>
                    <a:lnTo>
                      <a:pt x="1264" y="1244"/>
                    </a:lnTo>
                    <a:lnTo>
                      <a:pt x="1267" y="1239"/>
                    </a:lnTo>
                    <a:lnTo>
                      <a:pt x="1270" y="1232"/>
                    </a:lnTo>
                    <a:lnTo>
                      <a:pt x="1273" y="1226"/>
                    </a:lnTo>
                    <a:lnTo>
                      <a:pt x="1274" y="1219"/>
                    </a:lnTo>
                    <a:lnTo>
                      <a:pt x="1275" y="1211"/>
                    </a:lnTo>
                    <a:lnTo>
                      <a:pt x="1276" y="1205"/>
                    </a:lnTo>
                    <a:lnTo>
                      <a:pt x="1276" y="71"/>
                    </a:lnTo>
                    <a:lnTo>
                      <a:pt x="1275" y="63"/>
                    </a:lnTo>
                    <a:lnTo>
                      <a:pt x="1274" y="56"/>
                    </a:lnTo>
                    <a:lnTo>
                      <a:pt x="1273" y="49"/>
                    </a:lnTo>
                    <a:lnTo>
                      <a:pt x="1270" y="43"/>
                    </a:lnTo>
                    <a:lnTo>
                      <a:pt x="1267" y="36"/>
                    </a:lnTo>
                    <a:lnTo>
                      <a:pt x="1264" y="31"/>
                    </a:lnTo>
                    <a:lnTo>
                      <a:pt x="1259" y="25"/>
                    </a:lnTo>
                    <a:lnTo>
                      <a:pt x="1254" y="20"/>
                    </a:lnTo>
                    <a:lnTo>
                      <a:pt x="1250" y="16"/>
                    </a:lnTo>
                    <a:lnTo>
                      <a:pt x="1244" y="11"/>
                    </a:lnTo>
                    <a:lnTo>
                      <a:pt x="1239" y="8"/>
                    </a:lnTo>
                    <a:lnTo>
                      <a:pt x="1233" y="6"/>
                    </a:lnTo>
                    <a:lnTo>
                      <a:pt x="1226" y="3"/>
                    </a:lnTo>
                    <a:lnTo>
                      <a:pt x="1219" y="1"/>
                    </a:lnTo>
                    <a:lnTo>
                      <a:pt x="1212" y="0"/>
                    </a:lnTo>
                    <a:lnTo>
                      <a:pt x="1205" y="0"/>
                    </a:lnTo>
                    <a:lnTo>
                      <a:pt x="71" y="0"/>
                    </a:lnTo>
                    <a:lnTo>
                      <a:pt x="63" y="0"/>
                    </a:lnTo>
                    <a:lnTo>
                      <a:pt x="56" y="1"/>
                    </a:lnTo>
                    <a:lnTo>
                      <a:pt x="49" y="3"/>
                    </a:lnTo>
                    <a:lnTo>
                      <a:pt x="43" y="6"/>
                    </a:lnTo>
                    <a:lnTo>
                      <a:pt x="36" y="8"/>
                    </a:lnTo>
                    <a:lnTo>
                      <a:pt x="31" y="11"/>
                    </a:lnTo>
                    <a:lnTo>
                      <a:pt x="25" y="16"/>
                    </a:lnTo>
                    <a:lnTo>
                      <a:pt x="21" y="20"/>
                    </a:lnTo>
                    <a:lnTo>
                      <a:pt x="16" y="25"/>
                    </a:lnTo>
                    <a:lnTo>
                      <a:pt x="13" y="31"/>
                    </a:lnTo>
                    <a:lnTo>
                      <a:pt x="8" y="36"/>
                    </a:lnTo>
                    <a:lnTo>
                      <a:pt x="6" y="43"/>
                    </a:lnTo>
                    <a:lnTo>
                      <a:pt x="3" y="49"/>
                    </a:lnTo>
                    <a:lnTo>
                      <a:pt x="1" y="56"/>
                    </a:lnTo>
                    <a:lnTo>
                      <a:pt x="0" y="63"/>
                    </a:lnTo>
                    <a:lnTo>
                      <a:pt x="0" y="71"/>
                    </a:lnTo>
                    <a:lnTo>
                      <a:pt x="0" y="1205"/>
                    </a:lnTo>
                    <a:lnTo>
                      <a:pt x="0" y="1211"/>
                    </a:lnTo>
                    <a:lnTo>
                      <a:pt x="1" y="1219"/>
                    </a:lnTo>
                    <a:lnTo>
                      <a:pt x="3" y="1226"/>
                    </a:lnTo>
                    <a:lnTo>
                      <a:pt x="6" y="1232"/>
                    </a:lnTo>
                    <a:lnTo>
                      <a:pt x="8" y="1239"/>
                    </a:lnTo>
                    <a:lnTo>
                      <a:pt x="13" y="1244"/>
                    </a:lnTo>
                    <a:lnTo>
                      <a:pt x="16" y="1249"/>
                    </a:lnTo>
                    <a:lnTo>
                      <a:pt x="21" y="1255"/>
                    </a:lnTo>
                    <a:lnTo>
                      <a:pt x="25" y="1259"/>
                    </a:lnTo>
                    <a:lnTo>
                      <a:pt x="31" y="1263"/>
                    </a:lnTo>
                    <a:lnTo>
                      <a:pt x="36" y="1267"/>
                    </a:lnTo>
                    <a:lnTo>
                      <a:pt x="43" y="1269"/>
                    </a:lnTo>
                    <a:lnTo>
                      <a:pt x="49" y="1272"/>
                    </a:lnTo>
                    <a:lnTo>
                      <a:pt x="56" y="1274"/>
                    </a:lnTo>
                    <a:lnTo>
                      <a:pt x="63" y="1275"/>
                    </a:lnTo>
                    <a:lnTo>
                      <a:pt x="71" y="1275"/>
                    </a:lnTo>
                    <a:lnTo>
                      <a:pt x="1205" y="1275"/>
                    </a:lnTo>
                    <a:close/>
                  </a:path>
                </a:pathLst>
              </a:custGeom>
              <a:solidFill>
                <a:srgbClr val="3C4983"/>
              </a:solidFill>
              <a:ln w="12700">
                <a:solidFill>
                  <a:sysClr val="window" lastClr="FFFFFF"/>
                </a:solidFill>
                <a:round/>
                <a:headEnd/>
                <a:tailEnd/>
              </a:ln>
            </p:spPr>
            <p:txBody>
              <a:bodyPr vert="horz" wrap="square" lIns="91440" tIns="45720" rIns="91440" bIns="45720" numCol="1" anchor="t" anchorCtr="0" compatLnSpc="1">
                <a:prstTxWarp prst="textNoShape">
                  <a:avLst/>
                </a:prstTxWarp>
              </a:bodyPr>
              <a:lstStyle/>
              <a:p>
                <a:endParaRPr lang="en-US" sz="1600"/>
              </a:p>
            </p:txBody>
          </p:sp>
          <p:sp>
            <p:nvSpPr>
              <p:cNvPr id="35" name="Freeform 34"/>
              <p:cNvSpPr>
                <a:spLocks/>
              </p:cNvSpPr>
              <p:nvPr/>
            </p:nvSpPr>
            <p:spPr bwMode="auto">
              <a:xfrm>
                <a:off x="1024381" y="57919"/>
                <a:ext cx="169580" cy="323805"/>
              </a:xfrm>
              <a:custGeom>
                <a:avLst/>
                <a:gdLst>
                  <a:gd name="T0" fmla="*/ 365 w 562"/>
                  <a:gd name="T1" fmla="*/ 1082 h 1082"/>
                  <a:gd name="T2" fmla="*/ 365 w 562"/>
                  <a:gd name="T3" fmla="*/ 589 h 1082"/>
                  <a:gd name="T4" fmla="*/ 530 w 562"/>
                  <a:gd name="T5" fmla="*/ 589 h 1082"/>
                  <a:gd name="T6" fmla="*/ 555 w 562"/>
                  <a:gd name="T7" fmla="*/ 397 h 1082"/>
                  <a:gd name="T8" fmla="*/ 365 w 562"/>
                  <a:gd name="T9" fmla="*/ 397 h 1082"/>
                  <a:gd name="T10" fmla="*/ 365 w 562"/>
                  <a:gd name="T11" fmla="*/ 274 h 1082"/>
                  <a:gd name="T12" fmla="*/ 366 w 562"/>
                  <a:gd name="T13" fmla="*/ 253 h 1082"/>
                  <a:gd name="T14" fmla="*/ 368 w 562"/>
                  <a:gd name="T15" fmla="*/ 235 h 1082"/>
                  <a:gd name="T16" fmla="*/ 371 w 562"/>
                  <a:gd name="T17" fmla="*/ 227 h 1082"/>
                  <a:gd name="T18" fmla="*/ 374 w 562"/>
                  <a:gd name="T19" fmla="*/ 219 h 1082"/>
                  <a:gd name="T20" fmla="*/ 377 w 562"/>
                  <a:gd name="T21" fmla="*/ 212 h 1082"/>
                  <a:gd name="T22" fmla="*/ 382 w 562"/>
                  <a:gd name="T23" fmla="*/ 205 h 1082"/>
                  <a:gd name="T24" fmla="*/ 388 w 562"/>
                  <a:gd name="T25" fmla="*/ 200 h 1082"/>
                  <a:gd name="T26" fmla="*/ 395 w 562"/>
                  <a:gd name="T27" fmla="*/ 195 h 1082"/>
                  <a:gd name="T28" fmla="*/ 403 w 562"/>
                  <a:gd name="T29" fmla="*/ 191 h 1082"/>
                  <a:gd name="T30" fmla="*/ 412 w 562"/>
                  <a:gd name="T31" fmla="*/ 186 h 1082"/>
                  <a:gd name="T32" fmla="*/ 422 w 562"/>
                  <a:gd name="T33" fmla="*/ 184 h 1082"/>
                  <a:gd name="T34" fmla="*/ 433 w 562"/>
                  <a:gd name="T35" fmla="*/ 181 h 1082"/>
                  <a:gd name="T36" fmla="*/ 446 w 562"/>
                  <a:gd name="T37" fmla="*/ 180 h 1082"/>
                  <a:gd name="T38" fmla="*/ 461 w 562"/>
                  <a:gd name="T39" fmla="*/ 179 h 1082"/>
                  <a:gd name="T40" fmla="*/ 562 w 562"/>
                  <a:gd name="T41" fmla="*/ 179 h 1082"/>
                  <a:gd name="T42" fmla="*/ 562 w 562"/>
                  <a:gd name="T43" fmla="*/ 7 h 1082"/>
                  <a:gd name="T44" fmla="*/ 542 w 562"/>
                  <a:gd name="T45" fmla="*/ 5 h 1082"/>
                  <a:gd name="T46" fmla="*/ 507 w 562"/>
                  <a:gd name="T47" fmla="*/ 3 h 1082"/>
                  <a:gd name="T48" fmla="*/ 464 w 562"/>
                  <a:gd name="T49" fmla="*/ 0 h 1082"/>
                  <a:gd name="T50" fmla="*/ 414 w 562"/>
                  <a:gd name="T51" fmla="*/ 0 h 1082"/>
                  <a:gd name="T52" fmla="*/ 387 w 562"/>
                  <a:gd name="T53" fmla="*/ 0 h 1082"/>
                  <a:gd name="T54" fmla="*/ 360 w 562"/>
                  <a:gd name="T55" fmla="*/ 4 h 1082"/>
                  <a:gd name="T56" fmla="*/ 348 w 562"/>
                  <a:gd name="T57" fmla="*/ 6 h 1082"/>
                  <a:gd name="T58" fmla="*/ 336 w 562"/>
                  <a:gd name="T59" fmla="*/ 9 h 1082"/>
                  <a:gd name="T60" fmla="*/ 324 w 562"/>
                  <a:gd name="T61" fmla="*/ 13 h 1082"/>
                  <a:gd name="T62" fmla="*/ 313 w 562"/>
                  <a:gd name="T63" fmla="*/ 16 h 1082"/>
                  <a:gd name="T64" fmla="*/ 302 w 562"/>
                  <a:gd name="T65" fmla="*/ 21 h 1082"/>
                  <a:gd name="T66" fmla="*/ 291 w 562"/>
                  <a:gd name="T67" fmla="*/ 25 h 1082"/>
                  <a:gd name="T68" fmla="*/ 281 w 562"/>
                  <a:gd name="T69" fmla="*/ 31 h 1082"/>
                  <a:gd name="T70" fmla="*/ 270 w 562"/>
                  <a:gd name="T71" fmla="*/ 37 h 1082"/>
                  <a:gd name="T72" fmla="*/ 261 w 562"/>
                  <a:gd name="T73" fmla="*/ 44 h 1082"/>
                  <a:gd name="T74" fmla="*/ 252 w 562"/>
                  <a:gd name="T75" fmla="*/ 50 h 1082"/>
                  <a:gd name="T76" fmla="*/ 243 w 562"/>
                  <a:gd name="T77" fmla="*/ 57 h 1082"/>
                  <a:gd name="T78" fmla="*/ 235 w 562"/>
                  <a:gd name="T79" fmla="*/ 65 h 1082"/>
                  <a:gd name="T80" fmla="*/ 227 w 562"/>
                  <a:gd name="T81" fmla="*/ 73 h 1082"/>
                  <a:gd name="T82" fmla="*/ 219 w 562"/>
                  <a:gd name="T83" fmla="*/ 82 h 1082"/>
                  <a:gd name="T84" fmla="*/ 212 w 562"/>
                  <a:gd name="T85" fmla="*/ 91 h 1082"/>
                  <a:gd name="T86" fmla="*/ 205 w 562"/>
                  <a:gd name="T87" fmla="*/ 102 h 1082"/>
                  <a:gd name="T88" fmla="*/ 200 w 562"/>
                  <a:gd name="T89" fmla="*/ 112 h 1082"/>
                  <a:gd name="T90" fmla="*/ 194 w 562"/>
                  <a:gd name="T91" fmla="*/ 122 h 1082"/>
                  <a:gd name="T92" fmla="*/ 188 w 562"/>
                  <a:gd name="T93" fmla="*/ 134 h 1082"/>
                  <a:gd name="T94" fmla="*/ 184 w 562"/>
                  <a:gd name="T95" fmla="*/ 145 h 1082"/>
                  <a:gd name="T96" fmla="*/ 180 w 562"/>
                  <a:gd name="T97" fmla="*/ 158 h 1082"/>
                  <a:gd name="T98" fmla="*/ 176 w 562"/>
                  <a:gd name="T99" fmla="*/ 170 h 1082"/>
                  <a:gd name="T100" fmla="*/ 174 w 562"/>
                  <a:gd name="T101" fmla="*/ 183 h 1082"/>
                  <a:gd name="T102" fmla="*/ 170 w 562"/>
                  <a:gd name="T103" fmla="*/ 196 h 1082"/>
                  <a:gd name="T104" fmla="*/ 169 w 562"/>
                  <a:gd name="T105" fmla="*/ 210 h 1082"/>
                  <a:gd name="T106" fmla="*/ 167 w 562"/>
                  <a:gd name="T107" fmla="*/ 225 h 1082"/>
                  <a:gd name="T108" fmla="*/ 167 w 562"/>
                  <a:gd name="T109" fmla="*/ 239 h 1082"/>
                  <a:gd name="T110" fmla="*/ 166 w 562"/>
                  <a:gd name="T111" fmla="*/ 254 h 1082"/>
                  <a:gd name="T112" fmla="*/ 166 w 562"/>
                  <a:gd name="T113" fmla="*/ 397 h 1082"/>
                  <a:gd name="T114" fmla="*/ 0 w 562"/>
                  <a:gd name="T115" fmla="*/ 397 h 1082"/>
                  <a:gd name="T116" fmla="*/ 0 w 562"/>
                  <a:gd name="T117" fmla="*/ 589 h 1082"/>
                  <a:gd name="T118" fmla="*/ 166 w 562"/>
                  <a:gd name="T119" fmla="*/ 589 h 1082"/>
                  <a:gd name="T120" fmla="*/ 166 w 562"/>
                  <a:gd name="T121" fmla="*/ 1082 h 1082"/>
                  <a:gd name="T122" fmla="*/ 365 w 562"/>
                  <a:gd name="T123" fmla="*/ 1082 h 10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62" h="1082">
                    <a:moveTo>
                      <a:pt x="365" y="1082"/>
                    </a:moveTo>
                    <a:lnTo>
                      <a:pt x="365" y="589"/>
                    </a:lnTo>
                    <a:lnTo>
                      <a:pt x="530" y="589"/>
                    </a:lnTo>
                    <a:lnTo>
                      <a:pt x="555" y="397"/>
                    </a:lnTo>
                    <a:lnTo>
                      <a:pt x="365" y="397"/>
                    </a:lnTo>
                    <a:lnTo>
                      <a:pt x="365" y="274"/>
                    </a:lnTo>
                    <a:lnTo>
                      <a:pt x="366" y="253"/>
                    </a:lnTo>
                    <a:lnTo>
                      <a:pt x="368" y="235"/>
                    </a:lnTo>
                    <a:lnTo>
                      <a:pt x="371" y="227"/>
                    </a:lnTo>
                    <a:lnTo>
                      <a:pt x="374" y="219"/>
                    </a:lnTo>
                    <a:lnTo>
                      <a:pt x="377" y="212"/>
                    </a:lnTo>
                    <a:lnTo>
                      <a:pt x="382" y="205"/>
                    </a:lnTo>
                    <a:lnTo>
                      <a:pt x="388" y="200"/>
                    </a:lnTo>
                    <a:lnTo>
                      <a:pt x="395" y="195"/>
                    </a:lnTo>
                    <a:lnTo>
                      <a:pt x="403" y="191"/>
                    </a:lnTo>
                    <a:lnTo>
                      <a:pt x="412" y="186"/>
                    </a:lnTo>
                    <a:lnTo>
                      <a:pt x="422" y="184"/>
                    </a:lnTo>
                    <a:lnTo>
                      <a:pt x="433" y="181"/>
                    </a:lnTo>
                    <a:lnTo>
                      <a:pt x="446" y="180"/>
                    </a:lnTo>
                    <a:lnTo>
                      <a:pt x="461" y="179"/>
                    </a:lnTo>
                    <a:lnTo>
                      <a:pt x="562" y="179"/>
                    </a:lnTo>
                    <a:lnTo>
                      <a:pt x="562" y="7"/>
                    </a:lnTo>
                    <a:lnTo>
                      <a:pt x="542" y="5"/>
                    </a:lnTo>
                    <a:lnTo>
                      <a:pt x="507" y="3"/>
                    </a:lnTo>
                    <a:lnTo>
                      <a:pt x="464" y="0"/>
                    </a:lnTo>
                    <a:lnTo>
                      <a:pt x="414" y="0"/>
                    </a:lnTo>
                    <a:lnTo>
                      <a:pt x="387" y="0"/>
                    </a:lnTo>
                    <a:lnTo>
                      <a:pt x="360" y="4"/>
                    </a:lnTo>
                    <a:lnTo>
                      <a:pt x="348" y="6"/>
                    </a:lnTo>
                    <a:lnTo>
                      <a:pt x="336" y="9"/>
                    </a:lnTo>
                    <a:lnTo>
                      <a:pt x="324" y="13"/>
                    </a:lnTo>
                    <a:lnTo>
                      <a:pt x="313" y="16"/>
                    </a:lnTo>
                    <a:lnTo>
                      <a:pt x="302" y="21"/>
                    </a:lnTo>
                    <a:lnTo>
                      <a:pt x="291" y="25"/>
                    </a:lnTo>
                    <a:lnTo>
                      <a:pt x="281" y="31"/>
                    </a:lnTo>
                    <a:lnTo>
                      <a:pt x="270" y="37"/>
                    </a:lnTo>
                    <a:lnTo>
                      <a:pt x="261" y="44"/>
                    </a:lnTo>
                    <a:lnTo>
                      <a:pt x="252" y="50"/>
                    </a:lnTo>
                    <a:lnTo>
                      <a:pt x="243" y="57"/>
                    </a:lnTo>
                    <a:lnTo>
                      <a:pt x="235" y="65"/>
                    </a:lnTo>
                    <a:lnTo>
                      <a:pt x="227" y="73"/>
                    </a:lnTo>
                    <a:lnTo>
                      <a:pt x="219" y="82"/>
                    </a:lnTo>
                    <a:lnTo>
                      <a:pt x="212" y="91"/>
                    </a:lnTo>
                    <a:lnTo>
                      <a:pt x="205" y="102"/>
                    </a:lnTo>
                    <a:lnTo>
                      <a:pt x="200" y="112"/>
                    </a:lnTo>
                    <a:lnTo>
                      <a:pt x="194" y="122"/>
                    </a:lnTo>
                    <a:lnTo>
                      <a:pt x="188" y="134"/>
                    </a:lnTo>
                    <a:lnTo>
                      <a:pt x="184" y="145"/>
                    </a:lnTo>
                    <a:lnTo>
                      <a:pt x="180" y="158"/>
                    </a:lnTo>
                    <a:lnTo>
                      <a:pt x="176" y="170"/>
                    </a:lnTo>
                    <a:lnTo>
                      <a:pt x="174" y="183"/>
                    </a:lnTo>
                    <a:lnTo>
                      <a:pt x="170" y="196"/>
                    </a:lnTo>
                    <a:lnTo>
                      <a:pt x="169" y="210"/>
                    </a:lnTo>
                    <a:lnTo>
                      <a:pt x="167" y="225"/>
                    </a:lnTo>
                    <a:lnTo>
                      <a:pt x="167" y="239"/>
                    </a:lnTo>
                    <a:lnTo>
                      <a:pt x="166" y="254"/>
                    </a:lnTo>
                    <a:lnTo>
                      <a:pt x="166" y="397"/>
                    </a:lnTo>
                    <a:lnTo>
                      <a:pt x="0" y="397"/>
                    </a:lnTo>
                    <a:lnTo>
                      <a:pt x="0" y="589"/>
                    </a:lnTo>
                    <a:lnTo>
                      <a:pt x="166" y="589"/>
                    </a:lnTo>
                    <a:lnTo>
                      <a:pt x="166" y="1082"/>
                    </a:lnTo>
                    <a:lnTo>
                      <a:pt x="365" y="108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grpSp>
          <p:nvGrpSpPr>
            <p:cNvPr id="20" name="Group 19"/>
            <p:cNvGrpSpPr/>
            <p:nvPr/>
          </p:nvGrpSpPr>
          <p:grpSpPr>
            <a:xfrm>
              <a:off x="2170018" y="953"/>
              <a:ext cx="382681" cy="382270"/>
              <a:chOff x="2170018" y="953"/>
              <a:chExt cx="382681" cy="382270"/>
            </a:xfrm>
          </p:grpSpPr>
          <p:sp>
            <p:nvSpPr>
              <p:cNvPr id="32" name="Freeform 31"/>
              <p:cNvSpPr>
                <a:spLocks/>
              </p:cNvSpPr>
              <p:nvPr/>
            </p:nvSpPr>
            <p:spPr bwMode="auto">
              <a:xfrm>
                <a:off x="2170018" y="953"/>
                <a:ext cx="382681" cy="382270"/>
              </a:xfrm>
              <a:custGeom>
                <a:avLst/>
                <a:gdLst>
                  <a:gd name="T0" fmla="*/ 1212 w 1276"/>
                  <a:gd name="T1" fmla="*/ 1275 h 1275"/>
                  <a:gd name="T2" fmla="*/ 1226 w 1276"/>
                  <a:gd name="T3" fmla="*/ 1272 h 1275"/>
                  <a:gd name="T4" fmla="*/ 1239 w 1276"/>
                  <a:gd name="T5" fmla="*/ 1267 h 1275"/>
                  <a:gd name="T6" fmla="*/ 1250 w 1276"/>
                  <a:gd name="T7" fmla="*/ 1259 h 1275"/>
                  <a:gd name="T8" fmla="*/ 1259 w 1276"/>
                  <a:gd name="T9" fmla="*/ 1249 h 1275"/>
                  <a:gd name="T10" fmla="*/ 1267 w 1276"/>
                  <a:gd name="T11" fmla="*/ 1239 h 1275"/>
                  <a:gd name="T12" fmla="*/ 1273 w 1276"/>
                  <a:gd name="T13" fmla="*/ 1226 h 1275"/>
                  <a:gd name="T14" fmla="*/ 1275 w 1276"/>
                  <a:gd name="T15" fmla="*/ 1211 h 1275"/>
                  <a:gd name="T16" fmla="*/ 1276 w 1276"/>
                  <a:gd name="T17" fmla="*/ 71 h 1275"/>
                  <a:gd name="T18" fmla="*/ 1274 w 1276"/>
                  <a:gd name="T19" fmla="*/ 56 h 1275"/>
                  <a:gd name="T20" fmla="*/ 1270 w 1276"/>
                  <a:gd name="T21" fmla="*/ 43 h 1275"/>
                  <a:gd name="T22" fmla="*/ 1264 w 1276"/>
                  <a:gd name="T23" fmla="*/ 31 h 1275"/>
                  <a:gd name="T24" fmla="*/ 1254 w 1276"/>
                  <a:gd name="T25" fmla="*/ 20 h 1275"/>
                  <a:gd name="T26" fmla="*/ 1244 w 1276"/>
                  <a:gd name="T27" fmla="*/ 11 h 1275"/>
                  <a:gd name="T28" fmla="*/ 1233 w 1276"/>
                  <a:gd name="T29" fmla="*/ 6 h 1275"/>
                  <a:gd name="T30" fmla="*/ 1219 w 1276"/>
                  <a:gd name="T31" fmla="*/ 1 h 1275"/>
                  <a:gd name="T32" fmla="*/ 1205 w 1276"/>
                  <a:gd name="T33" fmla="*/ 0 h 1275"/>
                  <a:gd name="T34" fmla="*/ 63 w 1276"/>
                  <a:gd name="T35" fmla="*/ 0 h 1275"/>
                  <a:gd name="T36" fmla="*/ 49 w 1276"/>
                  <a:gd name="T37" fmla="*/ 3 h 1275"/>
                  <a:gd name="T38" fmla="*/ 36 w 1276"/>
                  <a:gd name="T39" fmla="*/ 8 h 1275"/>
                  <a:gd name="T40" fmla="*/ 25 w 1276"/>
                  <a:gd name="T41" fmla="*/ 16 h 1275"/>
                  <a:gd name="T42" fmla="*/ 16 w 1276"/>
                  <a:gd name="T43" fmla="*/ 25 h 1275"/>
                  <a:gd name="T44" fmla="*/ 8 w 1276"/>
                  <a:gd name="T45" fmla="*/ 36 h 1275"/>
                  <a:gd name="T46" fmla="*/ 3 w 1276"/>
                  <a:gd name="T47" fmla="*/ 49 h 1275"/>
                  <a:gd name="T48" fmla="*/ 0 w 1276"/>
                  <a:gd name="T49" fmla="*/ 63 h 1275"/>
                  <a:gd name="T50" fmla="*/ 0 w 1276"/>
                  <a:gd name="T51" fmla="*/ 1205 h 1275"/>
                  <a:gd name="T52" fmla="*/ 1 w 1276"/>
                  <a:gd name="T53" fmla="*/ 1219 h 1275"/>
                  <a:gd name="T54" fmla="*/ 6 w 1276"/>
                  <a:gd name="T55" fmla="*/ 1232 h 1275"/>
                  <a:gd name="T56" fmla="*/ 13 w 1276"/>
                  <a:gd name="T57" fmla="*/ 1244 h 1275"/>
                  <a:gd name="T58" fmla="*/ 21 w 1276"/>
                  <a:gd name="T59" fmla="*/ 1255 h 1275"/>
                  <a:gd name="T60" fmla="*/ 31 w 1276"/>
                  <a:gd name="T61" fmla="*/ 1263 h 1275"/>
                  <a:gd name="T62" fmla="*/ 43 w 1276"/>
                  <a:gd name="T63" fmla="*/ 1269 h 1275"/>
                  <a:gd name="T64" fmla="*/ 56 w 1276"/>
                  <a:gd name="T65" fmla="*/ 1274 h 1275"/>
                  <a:gd name="T66" fmla="*/ 71 w 1276"/>
                  <a:gd name="T67" fmla="*/ 1275 h 1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76" h="1275">
                    <a:moveTo>
                      <a:pt x="1205" y="1275"/>
                    </a:moveTo>
                    <a:lnTo>
                      <a:pt x="1212" y="1275"/>
                    </a:lnTo>
                    <a:lnTo>
                      <a:pt x="1219" y="1274"/>
                    </a:lnTo>
                    <a:lnTo>
                      <a:pt x="1226" y="1272"/>
                    </a:lnTo>
                    <a:lnTo>
                      <a:pt x="1233" y="1269"/>
                    </a:lnTo>
                    <a:lnTo>
                      <a:pt x="1239" y="1267"/>
                    </a:lnTo>
                    <a:lnTo>
                      <a:pt x="1244" y="1263"/>
                    </a:lnTo>
                    <a:lnTo>
                      <a:pt x="1250" y="1259"/>
                    </a:lnTo>
                    <a:lnTo>
                      <a:pt x="1254" y="1255"/>
                    </a:lnTo>
                    <a:lnTo>
                      <a:pt x="1259" y="1249"/>
                    </a:lnTo>
                    <a:lnTo>
                      <a:pt x="1264" y="1244"/>
                    </a:lnTo>
                    <a:lnTo>
                      <a:pt x="1267" y="1239"/>
                    </a:lnTo>
                    <a:lnTo>
                      <a:pt x="1270" y="1232"/>
                    </a:lnTo>
                    <a:lnTo>
                      <a:pt x="1273" y="1226"/>
                    </a:lnTo>
                    <a:lnTo>
                      <a:pt x="1274" y="1219"/>
                    </a:lnTo>
                    <a:lnTo>
                      <a:pt x="1275" y="1211"/>
                    </a:lnTo>
                    <a:lnTo>
                      <a:pt x="1276" y="1205"/>
                    </a:lnTo>
                    <a:lnTo>
                      <a:pt x="1276" y="71"/>
                    </a:lnTo>
                    <a:lnTo>
                      <a:pt x="1275" y="63"/>
                    </a:lnTo>
                    <a:lnTo>
                      <a:pt x="1274" y="56"/>
                    </a:lnTo>
                    <a:lnTo>
                      <a:pt x="1273" y="49"/>
                    </a:lnTo>
                    <a:lnTo>
                      <a:pt x="1270" y="43"/>
                    </a:lnTo>
                    <a:lnTo>
                      <a:pt x="1267" y="36"/>
                    </a:lnTo>
                    <a:lnTo>
                      <a:pt x="1264" y="31"/>
                    </a:lnTo>
                    <a:lnTo>
                      <a:pt x="1259" y="25"/>
                    </a:lnTo>
                    <a:lnTo>
                      <a:pt x="1254" y="20"/>
                    </a:lnTo>
                    <a:lnTo>
                      <a:pt x="1250" y="16"/>
                    </a:lnTo>
                    <a:lnTo>
                      <a:pt x="1244" y="11"/>
                    </a:lnTo>
                    <a:lnTo>
                      <a:pt x="1239" y="8"/>
                    </a:lnTo>
                    <a:lnTo>
                      <a:pt x="1233" y="6"/>
                    </a:lnTo>
                    <a:lnTo>
                      <a:pt x="1226" y="3"/>
                    </a:lnTo>
                    <a:lnTo>
                      <a:pt x="1219" y="1"/>
                    </a:lnTo>
                    <a:lnTo>
                      <a:pt x="1212" y="0"/>
                    </a:lnTo>
                    <a:lnTo>
                      <a:pt x="1205" y="0"/>
                    </a:lnTo>
                    <a:lnTo>
                      <a:pt x="71" y="0"/>
                    </a:lnTo>
                    <a:lnTo>
                      <a:pt x="63" y="0"/>
                    </a:lnTo>
                    <a:lnTo>
                      <a:pt x="56" y="1"/>
                    </a:lnTo>
                    <a:lnTo>
                      <a:pt x="49" y="3"/>
                    </a:lnTo>
                    <a:lnTo>
                      <a:pt x="43" y="6"/>
                    </a:lnTo>
                    <a:lnTo>
                      <a:pt x="36" y="8"/>
                    </a:lnTo>
                    <a:lnTo>
                      <a:pt x="31" y="11"/>
                    </a:lnTo>
                    <a:lnTo>
                      <a:pt x="25" y="16"/>
                    </a:lnTo>
                    <a:lnTo>
                      <a:pt x="21" y="20"/>
                    </a:lnTo>
                    <a:lnTo>
                      <a:pt x="16" y="25"/>
                    </a:lnTo>
                    <a:lnTo>
                      <a:pt x="13" y="31"/>
                    </a:lnTo>
                    <a:lnTo>
                      <a:pt x="8" y="36"/>
                    </a:lnTo>
                    <a:lnTo>
                      <a:pt x="6" y="43"/>
                    </a:lnTo>
                    <a:lnTo>
                      <a:pt x="3" y="49"/>
                    </a:lnTo>
                    <a:lnTo>
                      <a:pt x="1" y="56"/>
                    </a:lnTo>
                    <a:lnTo>
                      <a:pt x="0" y="63"/>
                    </a:lnTo>
                    <a:lnTo>
                      <a:pt x="0" y="71"/>
                    </a:lnTo>
                    <a:lnTo>
                      <a:pt x="0" y="1205"/>
                    </a:lnTo>
                    <a:lnTo>
                      <a:pt x="0" y="1211"/>
                    </a:lnTo>
                    <a:lnTo>
                      <a:pt x="1" y="1219"/>
                    </a:lnTo>
                    <a:lnTo>
                      <a:pt x="3" y="1226"/>
                    </a:lnTo>
                    <a:lnTo>
                      <a:pt x="6" y="1232"/>
                    </a:lnTo>
                    <a:lnTo>
                      <a:pt x="8" y="1239"/>
                    </a:lnTo>
                    <a:lnTo>
                      <a:pt x="13" y="1244"/>
                    </a:lnTo>
                    <a:lnTo>
                      <a:pt x="16" y="1249"/>
                    </a:lnTo>
                    <a:lnTo>
                      <a:pt x="21" y="1255"/>
                    </a:lnTo>
                    <a:lnTo>
                      <a:pt x="25" y="1259"/>
                    </a:lnTo>
                    <a:lnTo>
                      <a:pt x="31" y="1263"/>
                    </a:lnTo>
                    <a:lnTo>
                      <a:pt x="36" y="1267"/>
                    </a:lnTo>
                    <a:lnTo>
                      <a:pt x="43" y="1269"/>
                    </a:lnTo>
                    <a:lnTo>
                      <a:pt x="49" y="1272"/>
                    </a:lnTo>
                    <a:lnTo>
                      <a:pt x="56" y="1274"/>
                    </a:lnTo>
                    <a:lnTo>
                      <a:pt x="63" y="1275"/>
                    </a:lnTo>
                    <a:lnTo>
                      <a:pt x="71" y="1275"/>
                    </a:lnTo>
                    <a:lnTo>
                      <a:pt x="1205" y="1275"/>
                    </a:lnTo>
                    <a:close/>
                  </a:path>
                </a:pathLst>
              </a:custGeom>
              <a:solidFill>
                <a:srgbClr val="CB4937"/>
              </a:solidFill>
              <a:ln w="12700">
                <a:solidFill>
                  <a:sysClr val="window" lastClr="FFFFFF"/>
                </a:solidFill>
                <a:round/>
                <a:headEnd/>
                <a:tailEnd/>
              </a:ln>
            </p:spPr>
            <p:txBody>
              <a:bodyPr vert="horz" wrap="square" lIns="91440" tIns="45720" rIns="91440" bIns="45720" numCol="1" anchor="t" anchorCtr="0" compatLnSpc="1">
                <a:prstTxWarp prst="textNoShape">
                  <a:avLst/>
                </a:prstTxWarp>
              </a:bodyPr>
              <a:lstStyle/>
              <a:p>
                <a:endParaRPr lang="en-US" sz="1600"/>
              </a:p>
            </p:txBody>
          </p:sp>
          <p:sp>
            <p:nvSpPr>
              <p:cNvPr id="33" name="Freeform 32"/>
              <p:cNvSpPr>
                <a:spLocks noEditPoints="1"/>
              </p:cNvSpPr>
              <p:nvPr/>
            </p:nvSpPr>
            <p:spPr bwMode="auto">
              <a:xfrm>
                <a:off x="2233048" y="95397"/>
                <a:ext cx="252118" cy="190386"/>
              </a:xfrm>
              <a:custGeom>
                <a:avLst/>
                <a:gdLst>
                  <a:gd name="T0" fmla="*/ 125 w 836"/>
                  <a:gd name="T1" fmla="*/ 0 h 633"/>
                  <a:gd name="T2" fmla="*/ 100 w 836"/>
                  <a:gd name="T3" fmla="*/ 3 h 633"/>
                  <a:gd name="T4" fmla="*/ 76 w 836"/>
                  <a:gd name="T5" fmla="*/ 10 h 633"/>
                  <a:gd name="T6" fmla="*/ 55 w 836"/>
                  <a:gd name="T7" fmla="*/ 21 h 633"/>
                  <a:gd name="T8" fmla="*/ 37 w 836"/>
                  <a:gd name="T9" fmla="*/ 36 h 633"/>
                  <a:gd name="T10" fmla="*/ 21 w 836"/>
                  <a:gd name="T11" fmla="*/ 54 h 633"/>
                  <a:gd name="T12" fmla="*/ 10 w 836"/>
                  <a:gd name="T13" fmla="*/ 76 h 633"/>
                  <a:gd name="T14" fmla="*/ 3 w 836"/>
                  <a:gd name="T15" fmla="*/ 99 h 633"/>
                  <a:gd name="T16" fmla="*/ 0 w 836"/>
                  <a:gd name="T17" fmla="*/ 125 h 633"/>
                  <a:gd name="T18" fmla="*/ 0 w 836"/>
                  <a:gd name="T19" fmla="*/ 521 h 633"/>
                  <a:gd name="T20" fmla="*/ 5 w 836"/>
                  <a:gd name="T21" fmla="*/ 546 h 633"/>
                  <a:gd name="T22" fmla="*/ 15 w 836"/>
                  <a:gd name="T23" fmla="*/ 568 h 633"/>
                  <a:gd name="T24" fmla="*/ 28 w 836"/>
                  <a:gd name="T25" fmla="*/ 588 h 633"/>
                  <a:gd name="T26" fmla="*/ 45 w 836"/>
                  <a:gd name="T27" fmla="*/ 605 h 633"/>
                  <a:gd name="T28" fmla="*/ 65 w 836"/>
                  <a:gd name="T29" fmla="*/ 618 h 633"/>
                  <a:gd name="T30" fmla="*/ 87 w 836"/>
                  <a:gd name="T31" fmla="*/ 628 h 633"/>
                  <a:gd name="T32" fmla="*/ 112 w 836"/>
                  <a:gd name="T33" fmla="*/ 633 h 633"/>
                  <a:gd name="T34" fmla="*/ 711 w 836"/>
                  <a:gd name="T35" fmla="*/ 633 h 633"/>
                  <a:gd name="T36" fmla="*/ 736 w 836"/>
                  <a:gd name="T37" fmla="*/ 630 h 633"/>
                  <a:gd name="T38" fmla="*/ 760 w 836"/>
                  <a:gd name="T39" fmla="*/ 624 h 633"/>
                  <a:gd name="T40" fmla="*/ 781 w 836"/>
                  <a:gd name="T41" fmla="*/ 612 h 633"/>
                  <a:gd name="T42" fmla="*/ 799 w 836"/>
                  <a:gd name="T43" fmla="*/ 596 h 633"/>
                  <a:gd name="T44" fmla="*/ 815 w 836"/>
                  <a:gd name="T45" fmla="*/ 578 h 633"/>
                  <a:gd name="T46" fmla="*/ 826 w 836"/>
                  <a:gd name="T47" fmla="*/ 558 h 633"/>
                  <a:gd name="T48" fmla="*/ 833 w 836"/>
                  <a:gd name="T49" fmla="*/ 534 h 633"/>
                  <a:gd name="T50" fmla="*/ 836 w 836"/>
                  <a:gd name="T51" fmla="*/ 509 h 633"/>
                  <a:gd name="T52" fmla="*/ 836 w 836"/>
                  <a:gd name="T53" fmla="*/ 111 h 633"/>
                  <a:gd name="T54" fmla="*/ 830 w 836"/>
                  <a:gd name="T55" fmla="*/ 87 h 633"/>
                  <a:gd name="T56" fmla="*/ 821 w 836"/>
                  <a:gd name="T57" fmla="*/ 65 h 633"/>
                  <a:gd name="T58" fmla="*/ 807 w 836"/>
                  <a:gd name="T59" fmla="*/ 45 h 633"/>
                  <a:gd name="T60" fmla="*/ 791 w 836"/>
                  <a:gd name="T61" fmla="*/ 28 h 633"/>
                  <a:gd name="T62" fmla="*/ 771 w 836"/>
                  <a:gd name="T63" fmla="*/ 14 h 633"/>
                  <a:gd name="T64" fmla="*/ 749 w 836"/>
                  <a:gd name="T65" fmla="*/ 5 h 633"/>
                  <a:gd name="T66" fmla="*/ 724 w 836"/>
                  <a:gd name="T67" fmla="*/ 1 h 633"/>
                  <a:gd name="T68" fmla="*/ 298 w 836"/>
                  <a:gd name="T69" fmla="*/ 456 h 633"/>
                  <a:gd name="T70" fmla="*/ 538 w 836"/>
                  <a:gd name="T71" fmla="*/ 316 h 6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36" h="633">
                    <a:moveTo>
                      <a:pt x="711" y="0"/>
                    </a:moveTo>
                    <a:lnTo>
                      <a:pt x="125" y="0"/>
                    </a:lnTo>
                    <a:lnTo>
                      <a:pt x="112" y="1"/>
                    </a:lnTo>
                    <a:lnTo>
                      <a:pt x="100" y="3"/>
                    </a:lnTo>
                    <a:lnTo>
                      <a:pt x="87" y="5"/>
                    </a:lnTo>
                    <a:lnTo>
                      <a:pt x="76" y="10"/>
                    </a:lnTo>
                    <a:lnTo>
                      <a:pt x="65" y="14"/>
                    </a:lnTo>
                    <a:lnTo>
                      <a:pt x="55" y="21"/>
                    </a:lnTo>
                    <a:lnTo>
                      <a:pt x="45" y="28"/>
                    </a:lnTo>
                    <a:lnTo>
                      <a:pt x="37" y="36"/>
                    </a:lnTo>
                    <a:lnTo>
                      <a:pt x="28" y="45"/>
                    </a:lnTo>
                    <a:lnTo>
                      <a:pt x="21" y="54"/>
                    </a:lnTo>
                    <a:lnTo>
                      <a:pt x="15" y="65"/>
                    </a:lnTo>
                    <a:lnTo>
                      <a:pt x="10" y="76"/>
                    </a:lnTo>
                    <a:lnTo>
                      <a:pt x="5" y="87"/>
                    </a:lnTo>
                    <a:lnTo>
                      <a:pt x="3" y="99"/>
                    </a:lnTo>
                    <a:lnTo>
                      <a:pt x="0" y="111"/>
                    </a:lnTo>
                    <a:lnTo>
                      <a:pt x="0" y="125"/>
                    </a:lnTo>
                    <a:lnTo>
                      <a:pt x="0" y="509"/>
                    </a:lnTo>
                    <a:lnTo>
                      <a:pt x="0" y="521"/>
                    </a:lnTo>
                    <a:lnTo>
                      <a:pt x="3" y="534"/>
                    </a:lnTo>
                    <a:lnTo>
                      <a:pt x="5" y="546"/>
                    </a:lnTo>
                    <a:lnTo>
                      <a:pt x="10" y="558"/>
                    </a:lnTo>
                    <a:lnTo>
                      <a:pt x="15" y="568"/>
                    </a:lnTo>
                    <a:lnTo>
                      <a:pt x="21" y="578"/>
                    </a:lnTo>
                    <a:lnTo>
                      <a:pt x="28" y="588"/>
                    </a:lnTo>
                    <a:lnTo>
                      <a:pt x="37" y="596"/>
                    </a:lnTo>
                    <a:lnTo>
                      <a:pt x="45" y="605"/>
                    </a:lnTo>
                    <a:lnTo>
                      <a:pt x="55" y="612"/>
                    </a:lnTo>
                    <a:lnTo>
                      <a:pt x="65" y="618"/>
                    </a:lnTo>
                    <a:lnTo>
                      <a:pt x="76" y="624"/>
                    </a:lnTo>
                    <a:lnTo>
                      <a:pt x="87" y="628"/>
                    </a:lnTo>
                    <a:lnTo>
                      <a:pt x="100" y="630"/>
                    </a:lnTo>
                    <a:lnTo>
                      <a:pt x="112" y="633"/>
                    </a:lnTo>
                    <a:lnTo>
                      <a:pt x="125" y="633"/>
                    </a:lnTo>
                    <a:lnTo>
                      <a:pt x="711" y="633"/>
                    </a:lnTo>
                    <a:lnTo>
                      <a:pt x="724" y="633"/>
                    </a:lnTo>
                    <a:lnTo>
                      <a:pt x="736" y="630"/>
                    </a:lnTo>
                    <a:lnTo>
                      <a:pt x="749" y="628"/>
                    </a:lnTo>
                    <a:lnTo>
                      <a:pt x="760" y="624"/>
                    </a:lnTo>
                    <a:lnTo>
                      <a:pt x="771" y="618"/>
                    </a:lnTo>
                    <a:lnTo>
                      <a:pt x="781" y="612"/>
                    </a:lnTo>
                    <a:lnTo>
                      <a:pt x="791" y="605"/>
                    </a:lnTo>
                    <a:lnTo>
                      <a:pt x="799" y="596"/>
                    </a:lnTo>
                    <a:lnTo>
                      <a:pt x="807" y="588"/>
                    </a:lnTo>
                    <a:lnTo>
                      <a:pt x="815" y="578"/>
                    </a:lnTo>
                    <a:lnTo>
                      <a:pt x="821" y="568"/>
                    </a:lnTo>
                    <a:lnTo>
                      <a:pt x="826" y="558"/>
                    </a:lnTo>
                    <a:lnTo>
                      <a:pt x="830" y="546"/>
                    </a:lnTo>
                    <a:lnTo>
                      <a:pt x="833" y="534"/>
                    </a:lnTo>
                    <a:lnTo>
                      <a:pt x="836" y="521"/>
                    </a:lnTo>
                    <a:lnTo>
                      <a:pt x="836" y="509"/>
                    </a:lnTo>
                    <a:lnTo>
                      <a:pt x="836" y="125"/>
                    </a:lnTo>
                    <a:lnTo>
                      <a:pt x="836" y="111"/>
                    </a:lnTo>
                    <a:lnTo>
                      <a:pt x="833" y="99"/>
                    </a:lnTo>
                    <a:lnTo>
                      <a:pt x="830" y="87"/>
                    </a:lnTo>
                    <a:lnTo>
                      <a:pt x="826" y="76"/>
                    </a:lnTo>
                    <a:lnTo>
                      <a:pt x="821" y="65"/>
                    </a:lnTo>
                    <a:lnTo>
                      <a:pt x="815" y="54"/>
                    </a:lnTo>
                    <a:lnTo>
                      <a:pt x="807" y="45"/>
                    </a:lnTo>
                    <a:lnTo>
                      <a:pt x="799" y="36"/>
                    </a:lnTo>
                    <a:lnTo>
                      <a:pt x="791" y="28"/>
                    </a:lnTo>
                    <a:lnTo>
                      <a:pt x="781" y="21"/>
                    </a:lnTo>
                    <a:lnTo>
                      <a:pt x="771" y="14"/>
                    </a:lnTo>
                    <a:lnTo>
                      <a:pt x="760" y="10"/>
                    </a:lnTo>
                    <a:lnTo>
                      <a:pt x="749" y="5"/>
                    </a:lnTo>
                    <a:lnTo>
                      <a:pt x="736" y="3"/>
                    </a:lnTo>
                    <a:lnTo>
                      <a:pt x="724" y="1"/>
                    </a:lnTo>
                    <a:lnTo>
                      <a:pt x="711" y="0"/>
                    </a:lnTo>
                    <a:close/>
                    <a:moveTo>
                      <a:pt x="298" y="456"/>
                    </a:moveTo>
                    <a:lnTo>
                      <a:pt x="298" y="177"/>
                    </a:lnTo>
                    <a:lnTo>
                      <a:pt x="538" y="316"/>
                    </a:lnTo>
                    <a:lnTo>
                      <a:pt x="298" y="4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grpSp>
          <p:nvGrpSpPr>
            <p:cNvPr id="21" name="Group 20"/>
            <p:cNvGrpSpPr/>
            <p:nvPr/>
          </p:nvGrpSpPr>
          <p:grpSpPr>
            <a:xfrm>
              <a:off x="0" y="953"/>
              <a:ext cx="382681" cy="382270"/>
              <a:chOff x="0" y="953"/>
              <a:chExt cx="382681" cy="382270"/>
            </a:xfrm>
          </p:grpSpPr>
          <p:sp>
            <p:nvSpPr>
              <p:cNvPr id="30" name="Freeform 29"/>
              <p:cNvSpPr>
                <a:spLocks/>
              </p:cNvSpPr>
              <p:nvPr/>
            </p:nvSpPr>
            <p:spPr bwMode="auto">
              <a:xfrm>
                <a:off x="0" y="953"/>
                <a:ext cx="382681" cy="382270"/>
              </a:xfrm>
              <a:custGeom>
                <a:avLst/>
                <a:gdLst>
                  <a:gd name="T0" fmla="*/ 1212 w 1276"/>
                  <a:gd name="T1" fmla="*/ 1275 h 1275"/>
                  <a:gd name="T2" fmla="*/ 1226 w 1276"/>
                  <a:gd name="T3" fmla="*/ 1272 h 1275"/>
                  <a:gd name="T4" fmla="*/ 1239 w 1276"/>
                  <a:gd name="T5" fmla="*/ 1267 h 1275"/>
                  <a:gd name="T6" fmla="*/ 1250 w 1276"/>
                  <a:gd name="T7" fmla="*/ 1259 h 1275"/>
                  <a:gd name="T8" fmla="*/ 1259 w 1276"/>
                  <a:gd name="T9" fmla="*/ 1249 h 1275"/>
                  <a:gd name="T10" fmla="*/ 1267 w 1276"/>
                  <a:gd name="T11" fmla="*/ 1239 h 1275"/>
                  <a:gd name="T12" fmla="*/ 1273 w 1276"/>
                  <a:gd name="T13" fmla="*/ 1226 h 1275"/>
                  <a:gd name="T14" fmla="*/ 1275 w 1276"/>
                  <a:gd name="T15" fmla="*/ 1211 h 1275"/>
                  <a:gd name="T16" fmla="*/ 1276 w 1276"/>
                  <a:gd name="T17" fmla="*/ 71 h 1275"/>
                  <a:gd name="T18" fmla="*/ 1274 w 1276"/>
                  <a:gd name="T19" fmla="*/ 56 h 1275"/>
                  <a:gd name="T20" fmla="*/ 1270 w 1276"/>
                  <a:gd name="T21" fmla="*/ 43 h 1275"/>
                  <a:gd name="T22" fmla="*/ 1264 w 1276"/>
                  <a:gd name="T23" fmla="*/ 31 h 1275"/>
                  <a:gd name="T24" fmla="*/ 1254 w 1276"/>
                  <a:gd name="T25" fmla="*/ 20 h 1275"/>
                  <a:gd name="T26" fmla="*/ 1244 w 1276"/>
                  <a:gd name="T27" fmla="*/ 11 h 1275"/>
                  <a:gd name="T28" fmla="*/ 1233 w 1276"/>
                  <a:gd name="T29" fmla="*/ 6 h 1275"/>
                  <a:gd name="T30" fmla="*/ 1219 w 1276"/>
                  <a:gd name="T31" fmla="*/ 1 h 1275"/>
                  <a:gd name="T32" fmla="*/ 1205 w 1276"/>
                  <a:gd name="T33" fmla="*/ 0 h 1275"/>
                  <a:gd name="T34" fmla="*/ 63 w 1276"/>
                  <a:gd name="T35" fmla="*/ 0 h 1275"/>
                  <a:gd name="T36" fmla="*/ 49 w 1276"/>
                  <a:gd name="T37" fmla="*/ 3 h 1275"/>
                  <a:gd name="T38" fmla="*/ 36 w 1276"/>
                  <a:gd name="T39" fmla="*/ 8 h 1275"/>
                  <a:gd name="T40" fmla="*/ 25 w 1276"/>
                  <a:gd name="T41" fmla="*/ 16 h 1275"/>
                  <a:gd name="T42" fmla="*/ 16 w 1276"/>
                  <a:gd name="T43" fmla="*/ 25 h 1275"/>
                  <a:gd name="T44" fmla="*/ 8 w 1276"/>
                  <a:gd name="T45" fmla="*/ 36 h 1275"/>
                  <a:gd name="T46" fmla="*/ 3 w 1276"/>
                  <a:gd name="T47" fmla="*/ 49 h 1275"/>
                  <a:gd name="T48" fmla="*/ 0 w 1276"/>
                  <a:gd name="T49" fmla="*/ 63 h 1275"/>
                  <a:gd name="T50" fmla="*/ 0 w 1276"/>
                  <a:gd name="T51" fmla="*/ 1205 h 1275"/>
                  <a:gd name="T52" fmla="*/ 1 w 1276"/>
                  <a:gd name="T53" fmla="*/ 1219 h 1275"/>
                  <a:gd name="T54" fmla="*/ 6 w 1276"/>
                  <a:gd name="T55" fmla="*/ 1232 h 1275"/>
                  <a:gd name="T56" fmla="*/ 13 w 1276"/>
                  <a:gd name="T57" fmla="*/ 1244 h 1275"/>
                  <a:gd name="T58" fmla="*/ 21 w 1276"/>
                  <a:gd name="T59" fmla="*/ 1255 h 1275"/>
                  <a:gd name="T60" fmla="*/ 31 w 1276"/>
                  <a:gd name="T61" fmla="*/ 1263 h 1275"/>
                  <a:gd name="T62" fmla="*/ 43 w 1276"/>
                  <a:gd name="T63" fmla="*/ 1269 h 1275"/>
                  <a:gd name="T64" fmla="*/ 56 w 1276"/>
                  <a:gd name="T65" fmla="*/ 1274 h 1275"/>
                  <a:gd name="T66" fmla="*/ 71 w 1276"/>
                  <a:gd name="T67" fmla="*/ 1275 h 1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76" h="1275">
                    <a:moveTo>
                      <a:pt x="1205" y="1275"/>
                    </a:moveTo>
                    <a:lnTo>
                      <a:pt x="1212" y="1275"/>
                    </a:lnTo>
                    <a:lnTo>
                      <a:pt x="1219" y="1274"/>
                    </a:lnTo>
                    <a:lnTo>
                      <a:pt x="1226" y="1272"/>
                    </a:lnTo>
                    <a:lnTo>
                      <a:pt x="1233" y="1269"/>
                    </a:lnTo>
                    <a:lnTo>
                      <a:pt x="1239" y="1267"/>
                    </a:lnTo>
                    <a:lnTo>
                      <a:pt x="1244" y="1263"/>
                    </a:lnTo>
                    <a:lnTo>
                      <a:pt x="1250" y="1259"/>
                    </a:lnTo>
                    <a:lnTo>
                      <a:pt x="1254" y="1255"/>
                    </a:lnTo>
                    <a:lnTo>
                      <a:pt x="1259" y="1249"/>
                    </a:lnTo>
                    <a:lnTo>
                      <a:pt x="1264" y="1244"/>
                    </a:lnTo>
                    <a:lnTo>
                      <a:pt x="1267" y="1239"/>
                    </a:lnTo>
                    <a:lnTo>
                      <a:pt x="1270" y="1232"/>
                    </a:lnTo>
                    <a:lnTo>
                      <a:pt x="1273" y="1226"/>
                    </a:lnTo>
                    <a:lnTo>
                      <a:pt x="1274" y="1219"/>
                    </a:lnTo>
                    <a:lnTo>
                      <a:pt x="1275" y="1211"/>
                    </a:lnTo>
                    <a:lnTo>
                      <a:pt x="1276" y="1205"/>
                    </a:lnTo>
                    <a:lnTo>
                      <a:pt x="1276" y="71"/>
                    </a:lnTo>
                    <a:lnTo>
                      <a:pt x="1275" y="63"/>
                    </a:lnTo>
                    <a:lnTo>
                      <a:pt x="1274" y="56"/>
                    </a:lnTo>
                    <a:lnTo>
                      <a:pt x="1273" y="49"/>
                    </a:lnTo>
                    <a:lnTo>
                      <a:pt x="1270" y="43"/>
                    </a:lnTo>
                    <a:lnTo>
                      <a:pt x="1267" y="36"/>
                    </a:lnTo>
                    <a:lnTo>
                      <a:pt x="1264" y="31"/>
                    </a:lnTo>
                    <a:lnTo>
                      <a:pt x="1259" y="25"/>
                    </a:lnTo>
                    <a:lnTo>
                      <a:pt x="1254" y="20"/>
                    </a:lnTo>
                    <a:lnTo>
                      <a:pt x="1250" y="16"/>
                    </a:lnTo>
                    <a:lnTo>
                      <a:pt x="1244" y="11"/>
                    </a:lnTo>
                    <a:lnTo>
                      <a:pt x="1239" y="8"/>
                    </a:lnTo>
                    <a:lnTo>
                      <a:pt x="1233" y="6"/>
                    </a:lnTo>
                    <a:lnTo>
                      <a:pt x="1226" y="3"/>
                    </a:lnTo>
                    <a:lnTo>
                      <a:pt x="1219" y="1"/>
                    </a:lnTo>
                    <a:lnTo>
                      <a:pt x="1212" y="0"/>
                    </a:lnTo>
                    <a:lnTo>
                      <a:pt x="1205" y="0"/>
                    </a:lnTo>
                    <a:lnTo>
                      <a:pt x="71" y="0"/>
                    </a:lnTo>
                    <a:lnTo>
                      <a:pt x="63" y="0"/>
                    </a:lnTo>
                    <a:lnTo>
                      <a:pt x="56" y="1"/>
                    </a:lnTo>
                    <a:lnTo>
                      <a:pt x="49" y="3"/>
                    </a:lnTo>
                    <a:lnTo>
                      <a:pt x="43" y="6"/>
                    </a:lnTo>
                    <a:lnTo>
                      <a:pt x="36" y="8"/>
                    </a:lnTo>
                    <a:lnTo>
                      <a:pt x="31" y="11"/>
                    </a:lnTo>
                    <a:lnTo>
                      <a:pt x="25" y="16"/>
                    </a:lnTo>
                    <a:lnTo>
                      <a:pt x="21" y="20"/>
                    </a:lnTo>
                    <a:lnTo>
                      <a:pt x="16" y="25"/>
                    </a:lnTo>
                    <a:lnTo>
                      <a:pt x="13" y="31"/>
                    </a:lnTo>
                    <a:lnTo>
                      <a:pt x="8" y="36"/>
                    </a:lnTo>
                    <a:lnTo>
                      <a:pt x="6" y="43"/>
                    </a:lnTo>
                    <a:lnTo>
                      <a:pt x="3" y="49"/>
                    </a:lnTo>
                    <a:lnTo>
                      <a:pt x="1" y="56"/>
                    </a:lnTo>
                    <a:lnTo>
                      <a:pt x="0" y="63"/>
                    </a:lnTo>
                    <a:lnTo>
                      <a:pt x="0" y="71"/>
                    </a:lnTo>
                    <a:lnTo>
                      <a:pt x="0" y="1205"/>
                    </a:lnTo>
                    <a:lnTo>
                      <a:pt x="0" y="1211"/>
                    </a:lnTo>
                    <a:lnTo>
                      <a:pt x="1" y="1219"/>
                    </a:lnTo>
                    <a:lnTo>
                      <a:pt x="3" y="1226"/>
                    </a:lnTo>
                    <a:lnTo>
                      <a:pt x="6" y="1232"/>
                    </a:lnTo>
                    <a:lnTo>
                      <a:pt x="8" y="1239"/>
                    </a:lnTo>
                    <a:lnTo>
                      <a:pt x="13" y="1244"/>
                    </a:lnTo>
                    <a:lnTo>
                      <a:pt x="16" y="1249"/>
                    </a:lnTo>
                    <a:lnTo>
                      <a:pt x="21" y="1255"/>
                    </a:lnTo>
                    <a:lnTo>
                      <a:pt x="25" y="1259"/>
                    </a:lnTo>
                    <a:lnTo>
                      <a:pt x="31" y="1263"/>
                    </a:lnTo>
                    <a:lnTo>
                      <a:pt x="36" y="1267"/>
                    </a:lnTo>
                    <a:lnTo>
                      <a:pt x="43" y="1269"/>
                    </a:lnTo>
                    <a:lnTo>
                      <a:pt x="49" y="1272"/>
                    </a:lnTo>
                    <a:lnTo>
                      <a:pt x="56" y="1274"/>
                    </a:lnTo>
                    <a:lnTo>
                      <a:pt x="63" y="1275"/>
                    </a:lnTo>
                    <a:lnTo>
                      <a:pt x="71" y="1275"/>
                    </a:lnTo>
                    <a:lnTo>
                      <a:pt x="1205" y="1275"/>
                    </a:lnTo>
                    <a:close/>
                  </a:path>
                </a:pathLst>
              </a:custGeom>
              <a:solidFill>
                <a:srgbClr val="5A96CC"/>
              </a:solidFill>
              <a:ln w="12700">
                <a:solidFill>
                  <a:sysClr val="window" lastClr="FFFFFF"/>
                </a:solidFill>
                <a:round/>
                <a:headEnd/>
                <a:tailEnd/>
              </a:ln>
            </p:spPr>
            <p:txBody>
              <a:bodyPr vert="horz" wrap="square" lIns="91440" tIns="45720" rIns="91440" bIns="45720" numCol="1" anchor="t" anchorCtr="0" compatLnSpc="1">
                <a:prstTxWarp prst="textNoShape">
                  <a:avLst/>
                </a:prstTxWarp>
              </a:bodyPr>
              <a:lstStyle/>
              <a:p>
                <a:endParaRPr lang="en-US" sz="1600"/>
              </a:p>
            </p:txBody>
          </p:sp>
          <p:sp>
            <p:nvSpPr>
              <p:cNvPr id="31" name="Freeform 30"/>
              <p:cNvSpPr>
                <a:spLocks/>
              </p:cNvSpPr>
              <p:nvPr/>
            </p:nvSpPr>
            <p:spPr bwMode="auto">
              <a:xfrm>
                <a:off x="58528" y="81905"/>
                <a:ext cx="271628" cy="221866"/>
              </a:xfrm>
              <a:custGeom>
                <a:avLst/>
                <a:gdLst>
                  <a:gd name="T0" fmla="*/ 827 w 905"/>
                  <a:gd name="T1" fmla="*/ 113 h 736"/>
                  <a:gd name="T2" fmla="*/ 837 w 905"/>
                  <a:gd name="T3" fmla="*/ 86 h 736"/>
                  <a:gd name="T4" fmla="*/ 875 w 905"/>
                  <a:gd name="T5" fmla="*/ 30 h 736"/>
                  <a:gd name="T6" fmla="*/ 838 w 905"/>
                  <a:gd name="T7" fmla="*/ 36 h 736"/>
                  <a:gd name="T8" fmla="*/ 778 w 905"/>
                  <a:gd name="T9" fmla="*/ 56 h 736"/>
                  <a:gd name="T10" fmla="*/ 719 w 905"/>
                  <a:gd name="T11" fmla="*/ 25 h 736"/>
                  <a:gd name="T12" fmla="*/ 647 w 905"/>
                  <a:gd name="T13" fmla="*/ 2 h 736"/>
                  <a:gd name="T14" fmla="*/ 572 w 905"/>
                  <a:gd name="T15" fmla="*/ 9 h 736"/>
                  <a:gd name="T16" fmla="*/ 509 w 905"/>
                  <a:gd name="T17" fmla="*/ 44 h 736"/>
                  <a:gd name="T18" fmla="*/ 463 w 905"/>
                  <a:gd name="T19" fmla="*/ 98 h 736"/>
                  <a:gd name="T20" fmla="*/ 442 w 905"/>
                  <a:gd name="T21" fmla="*/ 168 h 736"/>
                  <a:gd name="T22" fmla="*/ 444 w 905"/>
                  <a:gd name="T23" fmla="*/ 219 h 736"/>
                  <a:gd name="T24" fmla="*/ 361 w 905"/>
                  <a:gd name="T25" fmla="*/ 218 h 736"/>
                  <a:gd name="T26" fmla="*/ 256 w 905"/>
                  <a:gd name="T27" fmla="*/ 183 h 736"/>
                  <a:gd name="T28" fmla="*/ 161 w 905"/>
                  <a:gd name="T29" fmla="*/ 128 h 736"/>
                  <a:gd name="T30" fmla="*/ 81 w 905"/>
                  <a:gd name="T31" fmla="*/ 55 h 736"/>
                  <a:gd name="T32" fmla="*/ 49 w 905"/>
                  <a:gd name="T33" fmla="*/ 68 h 736"/>
                  <a:gd name="T34" fmla="*/ 38 w 905"/>
                  <a:gd name="T35" fmla="*/ 115 h 736"/>
                  <a:gd name="T36" fmla="*/ 42 w 905"/>
                  <a:gd name="T37" fmla="*/ 163 h 736"/>
                  <a:gd name="T38" fmla="*/ 56 w 905"/>
                  <a:gd name="T39" fmla="*/ 206 h 736"/>
                  <a:gd name="T40" fmla="*/ 79 w 905"/>
                  <a:gd name="T41" fmla="*/ 245 h 736"/>
                  <a:gd name="T42" fmla="*/ 111 w 905"/>
                  <a:gd name="T43" fmla="*/ 276 h 736"/>
                  <a:gd name="T44" fmla="*/ 87 w 905"/>
                  <a:gd name="T45" fmla="*/ 278 h 736"/>
                  <a:gd name="T46" fmla="*/ 46 w 905"/>
                  <a:gd name="T47" fmla="*/ 265 h 736"/>
                  <a:gd name="T48" fmla="*/ 37 w 905"/>
                  <a:gd name="T49" fmla="*/ 278 h 736"/>
                  <a:gd name="T50" fmla="*/ 54 w 905"/>
                  <a:gd name="T51" fmla="*/ 341 h 736"/>
                  <a:gd name="T52" fmla="*/ 90 w 905"/>
                  <a:gd name="T53" fmla="*/ 392 h 736"/>
                  <a:gd name="T54" fmla="*/ 140 w 905"/>
                  <a:gd name="T55" fmla="*/ 428 h 736"/>
                  <a:gd name="T56" fmla="*/ 174 w 905"/>
                  <a:gd name="T57" fmla="*/ 447 h 736"/>
                  <a:gd name="T58" fmla="*/ 127 w 905"/>
                  <a:gd name="T59" fmla="*/ 450 h 736"/>
                  <a:gd name="T60" fmla="*/ 107 w 905"/>
                  <a:gd name="T61" fmla="*/ 460 h 736"/>
                  <a:gd name="T62" fmla="*/ 136 w 905"/>
                  <a:gd name="T63" fmla="*/ 509 h 736"/>
                  <a:gd name="T64" fmla="*/ 179 w 905"/>
                  <a:gd name="T65" fmla="*/ 547 h 736"/>
                  <a:gd name="T66" fmla="*/ 231 w 905"/>
                  <a:gd name="T67" fmla="*/ 570 h 736"/>
                  <a:gd name="T68" fmla="*/ 263 w 905"/>
                  <a:gd name="T69" fmla="*/ 584 h 736"/>
                  <a:gd name="T70" fmla="*/ 210 w 905"/>
                  <a:gd name="T71" fmla="*/ 616 h 736"/>
                  <a:gd name="T72" fmla="*/ 154 w 905"/>
                  <a:gd name="T73" fmla="*/ 639 h 736"/>
                  <a:gd name="T74" fmla="*/ 93 w 905"/>
                  <a:gd name="T75" fmla="*/ 653 h 736"/>
                  <a:gd name="T76" fmla="*/ 33 w 905"/>
                  <a:gd name="T77" fmla="*/ 655 h 736"/>
                  <a:gd name="T78" fmla="*/ 16 w 905"/>
                  <a:gd name="T79" fmla="*/ 662 h 736"/>
                  <a:gd name="T80" fmla="*/ 82 w 905"/>
                  <a:gd name="T81" fmla="*/ 695 h 736"/>
                  <a:gd name="T82" fmla="*/ 152 w 905"/>
                  <a:gd name="T83" fmla="*/ 719 h 736"/>
                  <a:gd name="T84" fmla="*/ 226 w 905"/>
                  <a:gd name="T85" fmla="*/ 732 h 736"/>
                  <a:gd name="T86" fmla="*/ 316 w 905"/>
                  <a:gd name="T87" fmla="*/ 736 h 736"/>
                  <a:gd name="T88" fmla="*/ 434 w 905"/>
                  <a:gd name="T89" fmla="*/ 717 h 736"/>
                  <a:gd name="T90" fmla="*/ 535 w 905"/>
                  <a:gd name="T91" fmla="*/ 677 h 736"/>
                  <a:gd name="T92" fmla="*/ 623 w 905"/>
                  <a:gd name="T93" fmla="*/ 617 h 736"/>
                  <a:gd name="T94" fmla="*/ 694 w 905"/>
                  <a:gd name="T95" fmla="*/ 545 h 736"/>
                  <a:gd name="T96" fmla="*/ 748 w 905"/>
                  <a:gd name="T97" fmla="*/ 461 h 736"/>
                  <a:gd name="T98" fmla="*/ 787 w 905"/>
                  <a:gd name="T99" fmla="*/ 372 h 736"/>
                  <a:gd name="T100" fmla="*/ 809 w 905"/>
                  <a:gd name="T101" fmla="*/ 278 h 736"/>
                  <a:gd name="T102" fmla="*/ 813 w 905"/>
                  <a:gd name="T103" fmla="*/ 196 h 736"/>
                  <a:gd name="T104" fmla="*/ 852 w 905"/>
                  <a:gd name="T105" fmla="*/ 152 h 736"/>
                  <a:gd name="T106" fmla="*/ 895 w 905"/>
                  <a:gd name="T107" fmla="*/ 102 h 7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05" h="736">
                    <a:moveTo>
                      <a:pt x="905" y="88"/>
                    </a:moveTo>
                    <a:lnTo>
                      <a:pt x="880" y="98"/>
                    </a:lnTo>
                    <a:lnTo>
                      <a:pt x="853" y="106"/>
                    </a:lnTo>
                    <a:lnTo>
                      <a:pt x="827" y="113"/>
                    </a:lnTo>
                    <a:lnTo>
                      <a:pt x="798" y="118"/>
                    </a:lnTo>
                    <a:lnTo>
                      <a:pt x="812" y="107"/>
                    </a:lnTo>
                    <a:lnTo>
                      <a:pt x="826" y="97"/>
                    </a:lnTo>
                    <a:lnTo>
                      <a:pt x="837" y="86"/>
                    </a:lnTo>
                    <a:lnTo>
                      <a:pt x="849" y="73"/>
                    </a:lnTo>
                    <a:lnTo>
                      <a:pt x="859" y="60"/>
                    </a:lnTo>
                    <a:lnTo>
                      <a:pt x="867" y="46"/>
                    </a:lnTo>
                    <a:lnTo>
                      <a:pt x="875" y="30"/>
                    </a:lnTo>
                    <a:lnTo>
                      <a:pt x="880" y="14"/>
                    </a:lnTo>
                    <a:lnTo>
                      <a:pt x="867" y="22"/>
                    </a:lnTo>
                    <a:lnTo>
                      <a:pt x="853" y="29"/>
                    </a:lnTo>
                    <a:lnTo>
                      <a:pt x="838" y="36"/>
                    </a:lnTo>
                    <a:lnTo>
                      <a:pt x="823" y="41"/>
                    </a:lnTo>
                    <a:lnTo>
                      <a:pt x="809" y="47"/>
                    </a:lnTo>
                    <a:lnTo>
                      <a:pt x="794" y="52"/>
                    </a:lnTo>
                    <a:lnTo>
                      <a:pt x="778" y="56"/>
                    </a:lnTo>
                    <a:lnTo>
                      <a:pt x="762" y="60"/>
                    </a:lnTo>
                    <a:lnTo>
                      <a:pt x="749" y="47"/>
                    </a:lnTo>
                    <a:lnTo>
                      <a:pt x="735" y="35"/>
                    </a:lnTo>
                    <a:lnTo>
                      <a:pt x="719" y="25"/>
                    </a:lnTo>
                    <a:lnTo>
                      <a:pt x="702" y="16"/>
                    </a:lnTo>
                    <a:lnTo>
                      <a:pt x="684" y="9"/>
                    </a:lnTo>
                    <a:lnTo>
                      <a:pt x="666" y="5"/>
                    </a:lnTo>
                    <a:lnTo>
                      <a:pt x="647" y="2"/>
                    </a:lnTo>
                    <a:lnTo>
                      <a:pt x="626" y="0"/>
                    </a:lnTo>
                    <a:lnTo>
                      <a:pt x="608" y="2"/>
                    </a:lnTo>
                    <a:lnTo>
                      <a:pt x="590" y="5"/>
                    </a:lnTo>
                    <a:lnTo>
                      <a:pt x="572" y="9"/>
                    </a:lnTo>
                    <a:lnTo>
                      <a:pt x="555" y="15"/>
                    </a:lnTo>
                    <a:lnTo>
                      <a:pt x="539" y="23"/>
                    </a:lnTo>
                    <a:lnTo>
                      <a:pt x="523" y="32"/>
                    </a:lnTo>
                    <a:lnTo>
                      <a:pt x="509" y="44"/>
                    </a:lnTo>
                    <a:lnTo>
                      <a:pt x="495" y="55"/>
                    </a:lnTo>
                    <a:lnTo>
                      <a:pt x="484" y="69"/>
                    </a:lnTo>
                    <a:lnTo>
                      <a:pt x="473" y="82"/>
                    </a:lnTo>
                    <a:lnTo>
                      <a:pt x="463" y="98"/>
                    </a:lnTo>
                    <a:lnTo>
                      <a:pt x="455" y="114"/>
                    </a:lnTo>
                    <a:lnTo>
                      <a:pt x="450" y="131"/>
                    </a:lnTo>
                    <a:lnTo>
                      <a:pt x="445" y="150"/>
                    </a:lnTo>
                    <a:lnTo>
                      <a:pt x="442" y="168"/>
                    </a:lnTo>
                    <a:lnTo>
                      <a:pt x="441" y="186"/>
                    </a:lnTo>
                    <a:lnTo>
                      <a:pt x="442" y="197"/>
                    </a:lnTo>
                    <a:lnTo>
                      <a:pt x="443" y="208"/>
                    </a:lnTo>
                    <a:lnTo>
                      <a:pt x="444" y="219"/>
                    </a:lnTo>
                    <a:lnTo>
                      <a:pt x="446" y="229"/>
                    </a:lnTo>
                    <a:lnTo>
                      <a:pt x="417" y="227"/>
                    </a:lnTo>
                    <a:lnTo>
                      <a:pt x="389" y="222"/>
                    </a:lnTo>
                    <a:lnTo>
                      <a:pt x="361" y="218"/>
                    </a:lnTo>
                    <a:lnTo>
                      <a:pt x="334" y="211"/>
                    </a:lnTo>
                    <a:lnTo>
                      <a:pt x="307" y="203"/>
                    </a:lnTo>
                    <a:lnTo>
                      <a:pt x="281" y="194"/>
                    </a:lnTo>
                    <a:lnTo>
                      <a:pt x="256" y="183"/>
                    </a:lnTo>
                    <a:lnTo>
                      <a:pt x="231" y="171"/>
                    </a:lnTo>
                    <a:lnTo>
                      <a:pt x="207" y="157"/>
                    </a:lnTo>
                    <a:lnTo>
                      <a:pt x="184" y="144"/>
                    </a:lnTo>
                    <a:lnTo>
                      <a:pt x="161" y="128"/>
                    </a:lnTo>
                    <a:lnTo>
                      <a:pt x="140" y="111"/>
                    </a:lnTo>
                    <a:lnTo>
                      <a:pt x="119" y="94"/>
                    </a:lnTo>
                    <a:lnTo>
                      <a:pt x="100" y="76"/>
                    </a:lnTo>
                    <a:lnTo>
                      <a:pt x="81" y="55"/>
                    </a:lnTo>
                    <a:lnTo>
                      <a:pt x="63" y="35"/>
                    </a:lnTo>
                    <a:lnTo>
                      <a:pt x="58" y="45"/>
                    </a:lnTo>
                    <a:lnTo>
                      <a:pt x="52" y="56"/>
                    </a:lnTo>
                    <a:lnTo>
                      <a:pt x="49" y="68"/>
                    </a:lnTo>
                    <a:lnTo>
                      <a:pt x="44" y="79"/>
                    </a:lnTo>
                    <a:lnTo>
                      <a:pt x="42" y="90"/>
                    </a:lnTo>
                    <a:lnTo>
                      <a:pt x="40" y="103"/>
                    </a:lnTo>
                    <a:lnTo>
                      <a:pt x="38" y="115"/>
                    </a:lnTo>
                    <a:lnTo>
                      <a:pt x="38" y="128"/>
                    </a:lnTo>
                    <a:lnTo>
                      <a:pt x="38" y="140"/>
                    </a:lnTo>
                    <a:lnTo>
                      <a:pt x="40" y="152"/>
                    </a:lnTo>
                    <a:lnTo>
                      <a:pt x="42" y="163"/>
                    </a:lnTo>
                    <a:lnTo>
                      <a:pt x="44" y="175"/>
                    </a:lnTo>
                    <a:lnTo>
                      <a:pt x="48" y="186"/>
                    </a:lnTo>
                    <a:lnTo>
                      <a:pt x="51" y="196"/>
                    </a:lnTo>
                    <a:lnTo>
                      <a:pt x="56" y="206"/>
                    </a:lnTo>
                    <a:lnTo>
                      <a:pt x="60" y="217"/>
                    </a:lnTo>
                    <a:lnTo>
                      <a:pt x="66" y="227"/>
                    </a:lnTo>
                    <a:lnTo>
                      <a:pt x="73" y="236"/>
                    </a:lnTo>
                    <a:lnTo>
                      <a:pt x="79" y="245"/>
                    </a:lnTo>
                    <a:lnTo>
                      <a:pt x="86" y="253"/>
                    </a:lnTo>
                    <a:lnTo>
                      <a:pt x="94" y="261"/>
                    </a:lnTo>
                    <a:lnTo>
                      <a:pt x="102" y="269"/>
                    </a:lnTo>
                    <a:lnTo>
                      <a:pt x="111" y="276"/>
                    </a:lnTo>
                    <a:lnTo>
                      <a:pt x="120" y="283"/>
                    </a:lnTo>
                    <a:lnTo>
                      <a:pt x="109" y="282"/>
                    </a:lnTo>
                    <a:lnTo>
                      <a:pt x="98" y="280"/>
                    </a:lnTo>
                    <a:lnTo>
                      <a:pt x="87" y="278"/>
                    </a:lnTo>
                    <a:lnTo>
                      <a:pt x="76" y="276"/>
                    </a:lnTo>
                    <a:lnTo>
                      <a:pt x="66" y="272"/>
                    </a:lnTo>
                    <a:lnTo>
                      <a:pt x="56" y="269"/>
                    </a:lnTo>
                    <a:lnTo>
                      <a:pt x="46" y="265"/>
                    </a:lnTo>
                    <a:lnTo>
                      <a:pt x="36" y="260"/>
                    </a:lnTo>
                    <a:lnTo>
                      <a:pt x="36" y="261"/>
                    </a:lnTo>
                    <a:lnTo>
                      <a:pt x="36" y="262"/>
                    </a:lnTo>
                    <a:lnTo>
                      <a:pt x="37" y="278"/>
                    </a:lnTo>
                    <a:lnTo>
                      <a:pt x="40" y="295"/>
                    </a:lnTo>
                    <a:lnTo>
                      <a:pt x="43" y="310"/>
                    </a:lnTo>
                    <a:lnTo>
                      <a:pt x="48" y="326"/>
                    </a:lnTo>
                    <a:lnTo>
                      <a:pt x="54" y="341"/>
                    </a:lnTo>
                    <a:lnTo>
                      <a:pt x="61" y="354"/>
                    </a:lnTo>
                    <a:lnTo>
                      <a:pt x="69" y="368"/>
                    </a:lnTo>
                    <a:lnTo>
                      <a:pt x="79" y="381"/>
                    </a:lnTo>
                    <a:lnTo>
                      <a:pt x="90" y="392"/>
                    </a:lnTo>
                    <a:lnTo>
                      <a:pt x="101" y="402"/>
                    </a:lnTo>
                    <a:lnTo>
                      <a:pt x="114" y="413"/>
                    </a:lnTo>
                    <a:lnTo>
                      <a:pt x="126" y="420"/>
                    </a:lnTo>
                    <a:lnTo>
                      <a:pt x="140" y="428"/>
                    </a:lnTo>
                    <a:lnTo>
                      <a:pt x="155" y="435"/>
                    </a:lnTo>
                    <a:lnTo>
                      <a:pt x="169" y="440"/>
                    </a:lnTo>
                    <a:lnTo>
                      <a:pt x="185" y="443"/>
                    </a:lnTo>
                    <a:lnTo>
                      <a:pt x="174" y="447"/>
                    </a:lnTo>
                    <a:lnTo>
                      <a:pt x="161" y="449"/>
                    </a:lnTo>
                    <a:lnTo>
                      <a:pt x="149" y="450"/>
                    </a:lnTo>
                    <a:lnTo>
                      <a:pt x="136" y="450"/>
                    </a:lnTo>
                    <a:lnTo>
                      <a:pt x="127" y="450"/>
                    </a:lnTo>
                    <a:lnTo>
                      <a:pt x="119" y="449"/>
                    </a:lnTo>
                    <a:lnTo>
                      <a:pt x="110" y="448"/>
                    </a:lnTo>
                    <a:lnTo>
                      <a:pt x="101" y="447"/>
                    </a:lnTo>
                    <a:lnTo>
                      <a:pt x="107" y="460"/>
                    </a:lnTo>
                    <a:lnTo>
                      <a:pt x="112" y="474"/>
                    </a:lnTo>
                    <a:lnTo>
                      <a:pt x="119" y="487"/>
                    </a:lnTo>
                    <a:lnTo>
                      <a:pt x="127" y="498"/>
                    </a:lnTo>
                    <a:lnTo>
                      <a:pt x="136" y="509"/>
                    </a:lnTo>
                    <a:lnTo>
                      <a:pt x="146" y="520"/>
                    </a:lnTo>
                    <a:lnTo>
                      <a:pt x="156" y="530"/>
                    </a:lnTo>
                    <a:lnTo>
                      <a:pt x="167" y="539"/>
                    </a:lnTo>
                    <a:lnTo>
                      <a:pt x="179" y="547"/>
                    </a:lnTo>
                    <a:lnTo>
                      <a:pt x="191" y="554"/>
                    </a:lnTo>
                    <a:lnTo>
                      <a:pt x="204" y="561"/>
                    </a:lnTo>
                    <a:lnTo>
                      <a:pt x="217" y="565"/>
                    </a:lnTo>
                    <a:lnTo>
                      <a:pt x="231" y="570"/>
                    </a:lnTo>
                    <a:lnTo>
                      <a:pt x="246" y="573"/>
                    </a:lnTo>
                    <a:lnTo>
                      <a:pt x="259" y="575"/>
                    </a:lnTo>
                    <a:lnTo>
                      <a:pt x="275" y="575"/>
                    </a:lnTo>
                    <a:lnTo>
                      <a:pt x="263" y="584"/>
                    </a:lnTo>
                    <a:lnTo>
                      <a:pt x="250" y="594"/>
                    </a:lnTo>
                    <a:lnTo>
                      <a:pt x="238" y="602"/>
                    </a:lnTo>
                    <a:lnTo>
                      <a:pt x="224" y="610"/>
                    </a:lnTo>
                    <a:lnTo>
                      <a:pt x="210" y="616"/>
                    </a:lnTo>
                    <a:lnTo>
                      <a:pt x="197" y="623"/>
                    </a:lnTo>
                    <a:lnTo>
                      <a:pt x="183" y="629"/>
                    </a:lnTo>
                    <a:lnTo>
                      <a:pt x="168" y="635"/>
                    </a:lnTo>
                    <a:lnTo>
                      <a:pt x="154" y="639"/>
                    </a:lnTo>
                    <a:lnTo>
                      <a:pt x="139" y="644"/>
                    </a:lnTo>
                    <a:lnTo>
                      <a:pt x="124" y="647"/>
                    </a:lnTo>
                    <a:lnTo>
                      <a:pt x="108" y="650"/>
                    </a:lnTo>
                    <a:lnTo>
                      <a:pt x="93" y="653"/>
                    </a:lnTo>
                    <a:lnTo>
                      <a:pt x="77" y="654"/>
                    </a:lnTo>
                    <a:lnTo>
                      <a:pt x="61" y="655"/>
                    </a:lnTo>
                    <a:lnTo>
                      <a:pt x="44" y="655"/>
                    </a:lnTo>
                    <a:lnTo>
                      <a:pt x="33" y="655"/>
                    </a:lnTo>
                    <a:lnTo>
                      <a:pt x="22" y="655"/>
                    </a:lnTo>
                    <a:lnTo>
                      <a:pt x="11" y="654"/>
                    </a:lnTo>
                    <a:lnTo>
                      <a:pt x="0" y="653"/>
                    </a:lnTo>
                    <a:lnTo>
                      <a:pt x="16" y="662"/>
                    </a:lnTo>
                    <a:lnTo>
                      <a:pt x="32" y="671"/>
                    </a:lnTo>
                    <a:lnTo>
                      <a:pt x="48" y="680"/>
                    </a:lnTo>
                    <a:lnTo>
                      <a:pt x="65" y="688"/>
                    </a:lnTo>
                    <a:lnTo>
                      <a:pt x="82" y="695"/>
                    </a:lnTo>
                    <a:lnTo>
                      <a:pt x="99" y="703"/>
                    </a:lnTo>
                    <a:lnTo>
                      <a:pt x="116" y="709"/>
                    </a:lnTo>
                    <a:lnTo>
                      <a:pt x="134" y="714"/>
                    </a:lnTo>
                    <a:lnTo>
                      <a:pt x="152" y="719"/>
                    </a:lnTo>
                    <a:lnTo>
                      <a:pt x="171" y="723"/>
                    </a:lnTo>
                    <a:lnTo>
                      <a:pt x="189" y="728"/>
                    </a:lnTo>
                    <a:lnTo>
                      <a:pt x="208" y="730"/>
                    </a:lnTo>
                    <a:lnTo>
                      <a:pt x="226" y="732"/>
                    </a:lnTo>
                    <a:lnTo>
                      <a:pt x="246" y="735"/>
                    </a:lnTo>
                    <a:lnTo>
                      <a:pt x="265" y="736"/>
                    </a:lnTo>
                    <a:lnTo>
                      <a:pt x="285" y="736"/>
                    </a:lnTo>
                    <a:lnTo>
                      <a:pt x="316" y="736"/>
                    </a:lnTo>
                    <a:lnTo>
                      <a:pt x="347" y="732"/>
                    </a:lnTo>
                    <a:lnTo>
                      <a:pt x="377" y="729"/>
                    </a:lnTo>
                    <a:lnTo>
                      <a:pt x="405" y="723"/>
                    </a:lnTo>
                    <a:lnTo>
                      <a:pt x="434" y="717"/>
                    </a:lnTo>
                    <a:lnTo>
                      <a:pt x="460" y="709"/>
                    </a:lnTo>
                    <a:lnTo>
                      <a:pt x="486" y="699"/>
                    </a:lnTo>
                    <a:lnTo>
                      <a:pt x="511" y="688"/>
                    </a:lnTo>
                    <a:lnTo>
                      <a:pt x="535" y="677"/>
                    </a:lnTo>
                    <a:lnTo>
                      <a:pt x="559" y="663"/>
                    </a:lnTo>
                    <a:lnTo>
                      <a:pt x="581" y="649"/>
                    </a:lnTo>
                    <a:lnTo>
                      <a:pt x="602" y="633"/>
                    </a:lnTo>
                    <a:lnTo>
                      <a:pt x="623" y="617"/>
                    </a:lnTo>
                    <a:lnTo>
                      <a:pt x="641" y="600"/>
                    </a:lnTo>
                    <a:lnTo>
                      <a:pt x="659" y="582"/>
                    </a:lnTo>
                    <a:lnTo>
                      <a:pt x="678" y="564"/>
                    </a:lnTo>
                    <a:lnTo>
                      <a:pt x="694" y="545"/>
                    </a:lnTo>
                    <a:lnTo>
                      <a:pt x="708" y="525"/>
                    </a:lnTo>
                    <a:lnTo>
                      <a:pt x="723" y="504"/>
                    </a:lnTo>
                    <a:lnTo>
                      <a:pt x="736" y="483"/>
                    </a:lnTo>
                    <a:lnTo>
                      <a:pt x="748" y="461"/>
                    </a:lnTo>
                    <a:lnTo>
                      <a:pt x="760" y="439"/>
                    </a:lnTo>
                    <a:lnTo>
                      <a:pt x="770" y="417"/>
                    </a:lnTo>
                    <a:lnTo>
                      <a:pt x="779" y="394"/>
                    </a:lnTo>
                    <a:lnTo>
                      <a:pt x="787" y="372"/>
                    </a:lnTo>
                    <a:lnTo>
                      <a:pt x="794" y="348"/>
                    </a:lnTo>
                    <a:lnTo>
                      <a:pt x="800" y="325"/>
                    </a:lnTo>
                    <a:lnTo>
                      <a:pt x="804" y="301"/>
                    </a:lnTo>
                    <a:lnTo>
                      <a:pt x="809" y="278"/>
                    </a:lnTo>
                    <a:lnTo>
                      <a:pt x="811" y="254"/>
                    </a:lnTo>
                    <a:lnTo>
                      <a:pt x="813" y="231"/>
                    </a:lnTo>
                    <a:lnTo>
                      <a:pt x="813" y="208"/>
                    </a:lnTo>
                    <a:lnTo>
                      <a:pt x="813" y="196"/>
                    </a:lnTo>
                    <a:lnTo>
                      <a:pt x="813" y="184"/>
                    </a:lnTo>
                    <a:lnTo>
                      <a:pt x="826" y="173"/>
                    </a:lnTo>
                    <a:lnTo>
                      <a:pt x="839" y="163"/>
                    </a:lnTo>
                    <a:lnTo>
                      <a:pt x="852" y="152"/>
                    </a:lnTo>
                    <a:lnTo>
                      <a:pt x="863" y="140"/>
                    </a:lnTo>
                    <a:lnTo>
                      <a:pt x="875" y="128"/>
                    </a:lnTo>
                    <a:lnTo>
                      <a:pt x="885" y="115"/>
                    </a:lnTo>
                    <a:lnTo>
                      <a:pt x="895" y="102"/>
                    </a:lnTo>
                    <a:lnTo>
                      <a:pt x="905" y="8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grpSp>
          <p:nvGrpSpPr>
            <p:cNvPr id="23" name="Group 22"/>
            <p:cNvGrpSpPr/>
            <p:nvPr/>
          </p:nvGrpSpPr>
          <p:grpSpPr>
            <a:xfrm>
              <a:off x="1304712" y="953"/>
              <a:ext cx="382681" cy="382270"/>
              <a:chOff x="1304712" y="953"/>
              <a:chExt cx="382681" cy="382270"/>
            </a:xfrm>
          </p:grpSpPr>
          <p:sp>
            <p:nvSpPr>
              <p:cNvPr id="26" name="Freeform 25"/>
              <p:cNvSpPr>
                <a:spLocks/>
              </p:cNvSpPr>
              <p:nvPr/>
            </p:nvSpPr>
            <p:spPr bwMode="auto">
              <a:xfrm>
                <a:off x="1304712" y="953"/>
                <a:ext cx="382681" cy="382270"/>
              </a:xfrm>
              <a:custGeom>
                <a:avLst/>
                <a:gdLst>
                  <a:gd name="T0" fmla="*/ 1212 w 1276"/>
                  <a:gd name="T1" fmla="*/ 1275 h 1275"/>
                  <a:gd name="T2" fmla="*/ 1226 w 1276"/>
                  <a:gd name="T3" fmla="*/ 1272 h 1275"/>
                  <a:gd name="T4" fmla="*/ 1239 w 1276"/>
                  <a:gd name="T5" fmla="*/ 1267 h 1275"/>
                  <a:gd name="T6" fmla="*/ 1250 w 1276"/>
                  <a:gd name="T7" fmla="*/ 1259 h 1275"/>
                  <a:gd name="T8" fmla="*/ 1259 w 1276"/>
                  <a:gd name="T9" fmla="*/ 1249 h 1275"/>
                  <a:gd name="T10" fmla="*/ 1267 w 1276"/>
                  <a:gd name="T11" fmla="*/ 1239 h 1275"/>
                  <a:gd name="T12" fmla="*/ 1273 w 1276"/>
                  <a:gd name="T13" fmla="*/ 1226 h 1275"/>
                  <a:gd name="T14" fmla="*/ 1275 w 1276"/>
                  <a:gd name="T15" fmla="*/ 1211 h 1275"/>
                  <a:gd name="T16" fmla="*/ 1276 w 1276"/>
                  <a:gd name="T17" fmla="*/ 71 h 1275"/>
                  <a:gd name="T18" fmla="*/ 1274 w 1276"/>
                  <a:gd name="T19" fmla="*/ 56 h 1275"/>
                  <a:gd name="T20" fmla="*/ 1270 w 1276"/>
                  <a:gd name="T21" fmla="*/ 43 h 1275"/>
                  <a:gd name="T22" fmla="*/ 1264 w 1276"/>
                  <a:gd name="T23" fmla="*/ 31 h 1275"/>
                  <a:gd name="T24" fmla="*/ 1254 w 1276"/>
                  <a:gd name="T25" fmla="*/ 20 h 1275"/>
                  <a:gd name="T26" fmla="*/ 1244 w 1276"/>
                  <a:gd name="T27" fmla="*/ 11 h 1275"/>
                  <a:gd name="T28" fmla="*/ 1233 w 1276"/>
                  <a:gd name="T29" fmla="*/ 6 h 1275"/>
                  <a:gd name="T30" fmla="*/ 1219 w 1276"/>
                  <a:gd name="T31" fmla="*/ 1 h 1275"/>
                  <a:gd name="T32" fmla="*/ 1205 w 1276"/>
                  <a:gd name="T33" fmla="*/ 0 h 1275"/>
                  <a:gd name="T34" fmla="*/ 63 w 1276"/>
                  <a:gd name="T35" fmla="*/ 0 h 1275"/>
                  <a:gd name="T36" fmla="*/ 49 w 1276"/>
                  <a:gd name="T37" fmla="*/ 3 h 1275"/>
                  <a:gd name="T38" fmla="*/ 36 w 1276"/>
                  <a:gd name="T39" fmla="*/ 8 h 1275"/>
                  <a:gd name="T40" fmla="*/ 25 w 1276"/>
                  <a:gd name="T41" fmla="*/ 16 h 1275"/>
                  <a:gd name="T42" fmla="*/ 16 w 1276"/>
                  <a:gd name="T43" fmla="*/ 25 h 1275"/>
                  <a:gd name="T44" fmla="*/ 8 w 1276"/>
                  <a:gd name="T45" fmla="*/ 36 h 1275"/>
                  <a:gd name="T46" fmla="*/ 3 w 1276"/>
                  <a:gd name="T47" fmla="*/ 49 h 1275"/>
                  <a:gd name="T48" fmla="*/ 0 w 1276"/>
                  <a:gd name="T49" fmla="*/ 63 h 1275"/>
                  <a:gd name="T50" fmla="*/ 0 w 1276"/>
                  <a:gd name="T51" fmla="*/ 1205 h 1275"/>
                  <a:gd name="T52" fmla="*/ 1 w 1276"/>
                  <a:gd name="T53" fmla="*/ 1219 h 1275"/>
                  <a:gd name="T54" fmla="*/ 6 w 1276"/>
                  <a:gd name="T55" fmla="*/ 1232 h 1275"/>
                  <a:gd name="T56" fmla="*/ 13 w 1276"/>
                  <a:gd name="T57" fmla="*/ 1244 h 1275"/>
                  <a:gd name="T58" fmla="*/ 21 w 1276"/>
                  <a:gd name="T59" fmla="*/ 1255 h 1275"/>
                  <a:gd name="T60" fmla="*/ 31 w 1276"/>
                  <a:gd name="T61" fmla="*/ 1263 h 1275"/>
                  <a:gd name="T62" fmla="*/ 43 w 1276"/>
                  <a:gd name="T63" fmla="*/ 1269 h 1275"/>
                  <a:gd name="T64" fmla="*/ 56 w 1276"/>
                  <a:gd name="T65" fmla="*/ 1274 h 1275"/>
                  <a:gd name="T66" fmla="*/ 71 w 1276"/>
                  <a:gd name="T67" fmla="*/ 1275 h 1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76" h="1275">
                    <a:moveTo>
                      <a:pt x="1205" y="1275"/>
                    </a:moveTo>
                    <a:lnTo>
                      <a:pt x="1212" y="1275"/>
                    </a:lnTo>
                    <a:lnTo>
                      <a:pt x="1219" y="1274"/>
                    </a:lnTo>
                    <a:lnTo>
                      <a:pt x="1226" y="1272"/>
                    </a:lnTo>
                    <a:lnTo>
                      <a:pt x="1233" y="1269"/>
                    </a:lnTo>
                    <a:lnTo>
                      <a:pt x="1239" y="1267"/>
                    </a:lnTo>
                    <a:lnTo>
                      <a:pt x="1244" y="1263"/>
                    </a:lnTo>
                    <a:lnTo>
                      <a:pt x="1250" y="1259"/>
                    </a:lnTo>
                    <a:lnTo>
                      <a:pt x="1254" y="1255"/>
                    </a:lnTo>
                    <a:lnTo>
                      <a:pt x="1259" y="1249"/>
                    </a:lnTo>
                    <a:lnTo>
                      <a:pt x="1264" y="1244"/>
                    </a:lnTo>
                    <a:lnTo>
                      <a:pt x="1267" y="1239"/>
                    </a:lnTo>
                    <a:lnTo>
                      <a:pt x="1270" y="1232"/>
                    </a:lnTo>
                    <a:lnTo>
                      <a:pt x="1273" y="1226"/>
                    </a:lnTo>
                    <a:lnTo>
                      <a:pt x="1274" y="1219"/>
                    </a:lnTo>
                    <a:lnTo>
                      <a:pt x="1275" y="1211"/>
                    </a:lnTo>
                    <a:lnTo>
                      <a:pt x="1276" y="1205"/>
                    </a:lnTo>
                    <a:lnTo>
                      <a:pt x="1276" y="71"/>
                    </a:lnTo>
                    <a:lnTo>
                      <a:pt x="1275" y="63"/>
                    </a:lnTo>
                    <a:lnTo>
                      <a:pt x="1274" y="56"/>
                    </a:lnTo>
                    <a:lnTo>
                      <a:pt x="1273" y="49"/>
                    </a:lnTo>
                    <a:lnTo>
                      <a:pt x="1270" y="43"/>
                    </a:lnTo>
                    <a:lnTo>
                      <a:pt x="1267" y="36"/>
                    </a:lnTo>
                    <a:lnTo>
                      <a:pt x="1264" y="31"/>
                    </a:lnTo>
                    <a:lnTo>
                      <a:pt x="1259" y="25"/>
                    </a:lnTo>
                    <a:lnTo>
                      <a:pt x="1254" y="20"/>
                    </a:lnTo>
                    <a:lnTo>
                      <a:pt x="1250" y="16"/>
                    </a:lnTo>
                    <a:lnTo>
                      <a:pt x="1244" y="11"/>
                    </a:lnTo>
                    <a:lnTo>
                      <a:pt x="1239" y="8"/>
                    </a:lnTo>
                    <a:lnTo>
                      <a:pt x="1233" y="6"/>
                    </a:lnTo>
                    <a:lnTo>
                      <a:pt x="1226" y="3"/>
                    </a:lnTo>
                    <a:lnTo>
                      <a:pt x="1219" y="1"/>
                    </a:lnTo>
                    <a:lnTo>
                      <a:pt x="1212" y="0"/>
                    </a:lnTo>
                    <a:lnTo>
                      <a:pt x="1205" y="0"/>
                    </a:lnTo>
                    <a:lnTo>
                      <a:pt x="71" y="0"/>
                    </a:lnTo>
                    <a:lnTo>
                      <a:pt x="63" y="0"/>
                    </a:lnTo>
                    <a:lnTo>
                      <a:pt x="56" y="1"/>
                    </a:lnTo>
                    <a:lnTo>
                      <a:pt x="49" y="3"/>
                    </a:lnTo>
                    <a:lnTo>
                      <a:pt x="43" y="6"/>
                    </a:lnTo>
                    <a:lnTo>
                      <a:pt x="36" y="8"/>
                    </a:lnTo>
                    <a:lnTo>
                      <a:pt x="31" y="11"/>
                    </a:lnTo>
                    <a:lnTo>
                      <a:pt x="25" y="16"/>
                    </a:lnTo>
                    <a:lnTo>
                      <a:pt x="21" y="20"/>
                    </a:lnTo>
                    <a:lnTo>
                      <a:pt x="16" y="25"/>
                    </a:lnTo>
                    <a:lnTo>
                      <a:pt x="13" y="31"/>
                    </a:lnTo>
                    <a:lnTo>
                      <a:pt x="8" y="36"/>
                    </a:lnTo>
                    <a:lnTo>
                      <a:pt x="6" y="43"/>
                    </a:lnTo>
                    <a:lnTo>
                      <a:pt x="3" y="49"/>
                    </a:lnTo>
                    <a:lnTo>
                      <a:pt x="1" y="56"/>
                    </a:lnTo>
                    <a:lnTo>
                      <a:pt x="0" y="63"/>
                    </a:lnTo>
                    <a:lnTo>
                      <a:pt x="0" y="71"/>
                    </a:lnTo>
                    <a:lnTo>
                      <a:pt x="0" y="1205"/>
                    </a:lnTo>
                    <a:lnTo>
                      <a:pt x="0" y="1211"/>
                    </a:lnTo>
                    <a:lnTo>
                      <a:pt x="1" y="1219"/>
                    </a:lnTo>
                    <a:lnTo>
                      <a:pt x="3" y="1226"/>
                    </a:lnTo>
                    <a:lnTo>
                      <a:pt x="6" y="1232"/>
                    </a:lnTo>
                    <a:lnTo>
                      <a:pt x="8" y="1239"/>
                    </a:lnTo>
                    <a:lnTo>
                      <a:pt x="13" y="1244"/>
                    </a:lnTo>
                    <a:lnTo>
                      <a:pt x="16" y="1249"/>
                    </a:lnTo>
                    <a:lnTo>
                      <a:pt x="21" y="1255"/>
                    </a:lnTo>
                    <a:lnTo>
                      <a:pt x="25" y="1259"/>
                    </a:lnTo>
                    <a:lnTo>
                      <a:pt x="31" y="1263"/>
                    </a:lnTo>
                    <a:lnTo>
                      <a:pt x="36" y="1267"/>
                    </a:lnTo>
                    <a:lnTo>
                      <a:pt x="43" y="1269"/>
                    </a:lnTo>
                    <a:lnTo>
                      <a:pt x="49" y="1272"/>
                    </a:lnTo>
                    <a:lnTo>
                      <a:pt x="56" y="1274"/>
                    </a:lnTo>
                    <a:lnTo>
                      <a:pt x="63" y="1275"/>
                    </a:lnTo>
                    <a:lnTo>
                      <a:pt x="71" y="1275"/>
                    </a:lnTo>
                    <a:lnTo>
                      <a:pt x="1205" y="1275"/>
                    </a:lnTo>
                    <a:close/>
                  </a:path>
                </a:pathLst>
              </a:custGeom>
              <a:solidFill>
                <a:srgbClr val="CB4937"/>
              </a:solidFill>
              <a:ln w="12700">
                <a:solidFill>
                  <a:sysClr val="window" lastClr="FFFFFF"/>
                </a:solidFill>
                <a:round/>
                <a:headEnd/>
                <a:tailEnd/>
              </a:ln>
            </p:spPr>
            <p:txBody>
              <a:bodyPr vert="horz" wrap="square" lIns="91440" tIns="45720" rIns="91440" bIns="45720" numCol="1" anchor="t" anchorCtr="0" compatLnSpc="1">
                <a:prstTxWarp prst="textNoShape">
                  <a:avLst/>
                </a:prstTxWarp>
              </a:bodyPr>
              <a:lstStyle/>
              <a:p>
                <a:endParaRPr lang="en-US" sz="1600"/>
              </a:p>
            </p:txBody>
          </p:sp>
          <p:grpSp>
            <p:nvGrpSpPr>
              <p:cNvPr id="27" name="Group 26"/>
              <p:cNvGrpSpPr/>
              <p:nvPr/>
            </p:nvGrpSpPr>
            <p:grpSpPr>
              <a:xfrm>
                <a:off x="1383486" y="117424"/>
                <a:ext cx="225150" cy="149328"/>
                <a:chOff x="1383486" y="117424"/>
                <a:chExt cx="176610" cy="117261"/>
              </a:xfrm>
            </p:grpSpPr>
            <p:sp>
              <p:nvSpPr>
                <p:cNvPr id="28" name="Freeform 27"/>
                <p:cNvSpPr>
                  <a:spLocks/>
                </p:cNvSpPr>
                <p:nvPr/>
              </p:nvSpPr>
              <p:spPr bwMode="auto">
                <a:xfrm>
                  <a:off x="1383486" y="117424"/>
                  <a:ext cx="111279" cy="117261"/>
                </a:xfrm>
                <a:custGeom>
                  <a:avLst/>
                  <a:gdLst>
                    <a:gd name="T0" fmla="*/ 1 w 58"/>
                    <a:gd name="T1" fmla="*/ 30 h 61"/>
                    <a:gd name="T2" fmla="*/ 28 w 58"/>
                    <a:gd name="T3" fmla="*/ 1 h 61"/>
                    <a:gd name="T4" fmla="*/ 49 w 58"/>
                    <a:gd name="T5" fmla="*/ 8 h 61"/>
                    <a:gd name="T6" fmla="*/ 41 w 58"/>
                    <a:gd name="T7" fmla="*/ 16 h 61"/>
                    <a:gd name="T8" fmla="*/ 24 w 58"/>
                    <a:gd name="T9" fmla="*/ 12 h 61"/>
                    <a:gd name="T10" fmla="*/ 13 w 58"/>
                    <a:gd name="T11" fmla="*/ 36 h 61"/>
                    <a:gd name="T12" fmla="*/ 37 w 58"/>
                    <a:gd name="T13" fmla="*/ 47 h 61"/>
                    <a:gd name="T14" fmla="*/ 46 w 58"/>
                    <a:gd name="T15" fmla="*/ 36 h 61"/>
                    <a:gd name="T16" fmla="*/ 29 w 58"/>
                    <a:gd name="T17" fmla="*/ 36 h 61"/>
                    <a:gd name="T18" fmla="*/ 29 w 58"/>
                    <a:gd name="T19" fmla="*/ 26 h 61"/>
                    <a:gd name="T20" fmla="*/ 57 w 58"/>
                    <a:gd name="T21" fmla="*/ 26 h 61"/>
                    <a:gd name="T22" fmla="*/ 51 w 58"/>
                    <a:gd name="T23" fmla="*/ 49 h 61"/>
                    <a:gd name="T24" fmla="*/ 20 w 58"/>
                    <a:gd name="T25" fmla="*/ 57 h 61"/>
                    <a:gd name="T26" fmla="*/ 1 w 58"/>
                    <a:gd name="T27" fmla="*/ 3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8" h="61">
                      <a:moveTo>
                        <a:pt x="1" y="30"/>
                      </a:moveTo>
                      <a:cubicBezTo>
                        <a:pt x="0" y="15"/>
                        <a:pt x="13" y="1"/>
                        <a:pt x="28" y="1"/>
                      </a:cubicBezTo>
                      <a:cubicBezTo>
                        <a:pt x="36" y="0"/>
                        <a:pt x="43" y="3"/>
                        <a:pt x="49" y="8"/>
                      </a:cubicBezTo>
                      <a:cubicBezTo>
                        <a:pt x="46" y="11"/>
                        <a:pt x="44" y="13"/>
                        <a:pt x="41" y="16"/>
                      </a:cubicBezTo>
                      <a:cubicBezTo>
                        <a:pt x="36" y="13"/>
                        <a:pt x="30" y="10"/>
                        <a:pt x="24" y="12"/>
                      </a:cubicBezTo>
                      <a:cubicBezTo>
                        <a:pt x="15" y="15"/>
                        <a:pt x="9" y="26"/>
                        <a:pt x="13" y="36"/>
                      </a:cubicBezTo>
                      <a:cubicBezTo>
                        <a:pt x="15" y="46"/>
                        <a:pt x="27" y="51"/>
                        <a:pt x="37" y="47"/>
                      </a:cubicBezTo>
                      <a:cubicBezTo>
                        <a:pt x="41" y="45"/>
                        <a:pt x="45" y="41"/>
                        <a:pt x="46" y="36"/>
                      </a:cubicBezTo>
                      <a:cubicBezTo>
                        <a:pt x="40" y="36"/>
                        <a:pt x="35" y="36"/>
                        <a:pt x="29" y="36"/>
                      </a:cubicBezTo>
                      <a:cubicBezTo>
                        <a:pt x="29" y="32"/>
                        <a:pt x="29" y="29"/>
                        <a:pt x="29" y="26"/>
                      </a:cubicBezTo>
                      <a:cubicBezTo>
                        <a:pt x="39" y="26"/>
                        <a:pt x="48" y="26"/>
                        <a:pt x="57" y="26"/>
                      </a:cubicBezTo>
                      <a:cubicBezTo>
                        <a:pt x="58" y="34"/>
                        <a:pt x="56" y="42"/>
                        <a:pt x="51" y="49"/>
                      </a:cubicBezTo>
                      <a:cubicBezTo>
                        <a:pt x="44" y="58"/>
                        <a:pt x="31" y="61"/>
                        <a:pt x="20" y="57"/>
                      </a:cubicBezTo>
                      <a:cubicBezTo>
                        <a:pt x="9" y="53"/>
                        <a:pt x="0" y="42"/>
                        <a:pt x="1" y="3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9" name="Freeform 28"/>
                <p:cNvSpPr>
                  <a:spLocks/>
                </p:cNvSpPr>
                <p:nvPr/>
              </p:nvSpPr>
              <p:spPr bwMode="auto">
                <a:xfrm>
                  <a:off x="1512234" y="152124"/>
                  <a:ext cx="47862" cy="46187"/>
                </a:xfrm>
                <a:custGeom>
                  <a:avLst/>
                  <a:gdLst>
                    <a:gd name="T0" fmla="*/ 8 w 25"/>
                    <a:gd name="T1" fmla="*/ 0 h 24"/>
                    <a:gd name="T2" fmla="*/ 16 w 25"/>
                    <a:gd name="T3" fmla="*/ 0 h 24"/>
                    <a:gd name="T4" fmla="*/ 16 w 25"/>
                    <a:gd name="T5" fmla="*/ 8 h 24"/>
                    <a:gd name="T6" fmla="*/ 25 w 25"/>
                    <a:gd name="T7" fmla="*/ 8 h 24"/>
                    <a:gd name="T8" fmla="*/ 25 w 25"/>
                    <a:gd name="T9" fmla="*/ 16 h 24"/>
                    <a:gd name="T10" fmla="*/ 16 w 25"/>
                    <a:gd name="T11" fmla="*/ 16 h 24"/>
                    <a:gd name="T12" fmla="*/ 16 w 25"/>
                    <a:gd name="T13" fmla="*/ 24 h 24"/>
                    <a:gd name="T14" fmla="*/ 8 w 25"/>
                    <a:gd name="T15" fmla="*/ 24 h 24"/>
                    <a:gd name="T16" fmla="*/ 8 w 25"/>
                    <a:gd name="T17" fmla="*/ 16 h 24"/>
                    <a:gd name="T18" fmla="*/ 0 w 25"/>
                    <a:gd name="T19" fmla="*/ 16 h 24"/>
                    <a:gd name="T20" fmla="*/ 0 w 25"/>
                    <a:gd name="T21" fmla="*/ 8 h 24"/>
                    <a:gd name="T22" fmla="*/ 8 w 25"/>
                    <a:gd name="T23" fmla="*/ 8 h 24"/>
                    <a:gd name="T24" fmla="*/ 8 w 25"/>
                    <a:gd name="T2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 h="24">
                      <a:moveTo>
                        <a:pt x="8" y="0"/>
                      </a:moveTo>
                      <a:cubicBezTo>
                        <a:pt x="11" y="0"/>
                        <a:pt x="13" y="0"/>
                        <a:pt x="16" y="0"/>
                      </a:cubicBezTo>
                      <a:cubicBezTo>
                        <a:pt x="16" y="2"/>
                        <a:pt x="16" y="5"/>
                        <a:pt x="16" y="8"/>
                      </a:cubicBezTo>
                      <a:cubicBezTo>
                        <a:pt x="19" y="8"/>
                        <a:pt x="22" y="8"/>
                        <a:pt x="25" y="8"/>
                      </a:cubicBezTo>
                      <a:cubicBezTo>
                        <a:pt x="25" y="11"/>
                        <a:pt x="25" y="13"/>
                        <a:pt x="25" y="16"/>
                      </a:cubicBezTo>
                      <a:cubicBezTo>
                        <a:pt x="22" y="16"/>
                        <a:pt x="19" y="16"/>
                        <a:pt x="16" y="16"/>
                      </a:cubicBezTo>
                      <a:cubicBezTo>
                        <a:pt x="16" y="19"/>
                        <a:pt x="16" y="22"/>
                        <a:pt x="16" y="24"/>
                      </a:cubicBezTo>
                      <a:cubicBezTo>
                        <a:pt x="13" y="24"/>
                        <a:pt x="11" y="24"/>
                        <a:pt x="8" y="24"/>
                      </a:cubicBezTo>
                      <a:cubicBezTo>
                        <a:pt x="8" y="22"/>
                        <a:pt x="8" y="19"/>
                        <a:pt x="8" y="16"/>
                      </a:cubicBezTo>
                      <a:cubicBezTo>
                        <a:pt x="5" y="16"/>
                        <a:pt x="2" y="16"/>
                        <a:pt x="0" y="16"/>
                      </a:cubicBezTo>
                      <a:cubicBezTo>
                        <a:pt x="0" y="13"/>
                        <a:pt x="0" y="11"/>
                        <a:pt x="0" y="8"/>
                      </a:cubicBezTo>
                      <a:cubicBezTo>
                        <a:pt x="2" y="8"/>
                        <a:pt x="5" y="8"/>
                        <a:pt x="8" y="8"/>
                      </a:cubicBezTo>
                      <a:cubicBezTo>
                        <a:pt x="8" y="5"/>
                        <a:pt x="8" y="2"/>
                        <a:pt x="8"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grpSp>
        <p:pic>
          <p:nvPicPr>
            <p:cNvPr id="25" name="Picture 2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739616" y="0"/>
              <a:ext cx="378178" cy="378178"/>
            </a:xfrm>
            <a:prstGeom prst="rect">
              <a:avLst/>
            </a:prstGeom>
          </p:spPr>
        </p:pic>
      </p:grpSp>
      <p:pic>
        <p:nvPicPr>
          <p:cNvPr id="39" name="Picture 3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112005" y="1800033"/>
            <a:ext cx="1344084" cy="897929"/>
          </a:xfrm>
          <a:prstGeom prst="rect">
            <a:avLst/>
          </a:prstGeom>
        </p:spPr>
      </p:pic>
    </p:spTree>
    <p:extLst>
      <p:ext uri="{BB962C8B-B14F-4D97-AF65-F5344CB8AC3E}">
        <p14:creationId xmlns:p14="http://schemas.microsoft.com/office/powerpoint/2010/main" val="139002791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7787E8-C42C-40D1-B635-7C0D110FF25A}"/>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C317FD00-6264-4DAC-822C-890C168F6600}"/>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AEC62F3-9E19-4412-AA8D-EF4399C88A7F}"/>
              </a:ext>
            </a:extLst>
          </p:cNvPr>
          <p:cNvSpPr>
            <a:spLocks noGrp="1"/>
          </p:cNvSpPr>
          <p:nvPr>
            <p:ph type="dt" sz="half" idx="10"/>
          </p:nvPr>
        </p:nvSpPr>
        <p:spPr/>
        <p:txBody>
          <a:bodyPr/>
          <a:lstStyle/>
          <a:p>
            <a:fld id="{282FDE51-C9E2-4DD2-8D5A-45CC3A661743}" type="datetimeFigureOut">
              <a:rPr lang="en-US" smtClean="0"/>
              <a:t>3/6/2020</a:t>
            </a:fld>
            <a:endParaRPr lang="en-US"/>
          </a:p>
        </p:txBody>
      </p:sp>
      <p:sp>
        <p:nvSpPr>
          <p:cNvPr id="5" name="Footer Placeholder 4">
            <a:extLst>
              <a:ext uri="{FF2B5EF4-FFF2-40B4-BE49-F238E27FC236}">
                <a16:creationId xmlns:a16="http://schemas.microsoft.com/office/drawing/2014/main" id="{5BF26795-1147-4FA7-870B-561E57C7037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3049748-17B3-4461-B279-328713BBC7F7}"/>
              </a:ext>
            </a:extLst>
          </p:cNvPr>
          <p:cNvSpPr>
            <a:spLocks noGrp="1"/>
          </p:cNvSpPr>
          <p:nvPr>
            <p:ph type="sldNum" sz="quarter" idx="12"/>
          </p:nvPr>
        </p:nvSpPr>
        <p:spPr/>
        <p:txBody>
          <a:bodyPr/>
          <a:lstStyle/>
          <a:p>
            <a:fld id="{3A97B9A2-02CD-4546-8A2E-87D1D4FD33F3}" type="slidenum">
              <a:rPr lang="en-US" smtClean="0"/>
              <a:t>‹#›</a:t>
            </a:fld>
            <a:endParaRPr lang="en-US"/>
          </a:p>
        </p:txBody>
      </p:sp>
    </p:spTree>
    <p:extLst>
      <p:ext uri="{BB962C8B-B14F-4D97-AF65-F5344CB8AC3E}">
        <p14:creationId xmlns:p14="http://schemas.microsoft.com/office/powerpoint/2010/main" val="349338850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FC1FC33-B471-41CE-9B31-3A38449891EB}"/>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83E7A05-C0B1-4E3B-9AAA-D17C9579415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69F0F9B-7D23-4807-AC44-88A6582BCD7D}"/>
              </a:ext>
            </a:extLst>
          </p:cNvPr>
          <p:cNvSpPr>
            <a:spLocks noGrp="1"/>
          </p:cNvSpPr>
          <p:nvPr>
            <p:ph type="dt" sz="half" idx="10"/>
          </p:nvPr>
        </p:nvSpPr>
        <p:spPr/>
        <p:txBody>
          <a:bodyPr/>
          <a:lstStyle/>
          <a:p>
            <a:fld id="{282FDE51-C9E2-4DD2-8D5A-45CC3A661743}" type="datetimeFigureOut">
              <a:rPr lang="en-US" smtClean="0"/>
              <a:t>3/6/2020</a:t>
            </a:fld>
            <a:endParaRPr lang="en-US"/>
          </a:p>
        </p:txBody>
      </p:sp>
      <p:sp>
        <p:nvSpPr>
          <p:cNvPr id="5" name="Footer Placeholder 4">
            <a:extLst>
              <a:ext uri="{FF2B5EF4-FFF2-40B4-BE49-F238E27FC236}">
                <a16:creationId xmlns:a16="http://schemas.microsoft.com/office/drawing/2014/main" id="{5C81649D-078E-472C-BE5F-300609B90F7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54C0B5F-9E5C-4653-A4B5-A95BA535B7B9}"/>
              </a:ext>
            </a:extLst>
          </p:cNvPr>
          <p:cNvSpPr>
            <a:spLocks noGrp="1"/>
          </p:cNvSpPr>
          <p:nvPr>
            <p:ph type="sldNum" sz="quarter" idx="12"/>
          </p:nvPr>
        </p:nvSpPr>
        <p:spPr/>
        <p:txBody>
          <a:bodyPr/>
          <a:lstStyle/>
          <a:p>
            <a:fld id="{3A97B9A2-02CD-4546-8A2E-87D1D4FD33F3}" type="slidenum">
              <a:rPr lang="en-US" smtClean="0"/>
              <a:t>‹#›</a:t>
            </a:fld>
            <a:endParaRPr lang="en-US"/>
          </a:p>
        </p:txBody>
      </p:sp>
    </p:spTree>
    <p:extLst>
      <p:ext uri="{BB962C8B-B14F-4D97-AF65-F5344CB8AC3E}">
        <p14:creationId xmlns:p14="http://schemas.microsoft.com/office/powerpoint/2010/main" val="259592722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userDrawn="1">
  <p:cSld name="DIVIDER 3">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723511" y="1759353"/>
            <a:ext cx="8256000" cy="3510000"/>
          </a:xfrm>
        </p:spPr>
        <p:txBody>
          <a:bodyPr anchor="t" anchorCtr="0"/>
          <a:lstStyle>
            <a:lvl1pPr algn="l">
              <a:defRPr sz="11001">
                <a:solidFill>
                  <a:schemeClr val="bg1"/>
                </a:solidFill>
              </a:defRPr>
            </a:lvl1pPr>
          </a:lstStyle>
          <a:p>
            <a:r>
              <a:rPr lang="en-GB"/>
              <a:t>Section divider three title style</a:t>
            </a:r>
            <a:endParaRPr lang="en-US"/>
          </a:p>
        </p:txBody>
      </p:sp>
      <p:sp>
        <p:nvSpPr>
          <p:cNvPr id="4" name="object 3"/>
          <p:cNvSpPr/>
          <p:nvPr userDrawn="1"/>
        </p:nvSpPr>
        <p:spPr>
          <a:xfrm>
            <a:off x="7" y="0"/>
            <a:ext cx="1344084"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chemeClr val="accent1"/>
          </a:solidFill>
        </p:spPr>
        <p:txBody>
          <a:bodyPr wrap="square" lIns="0" tIns="0" rIns="0" bIns="0" rtlCol="0">
            <a:noAutofit/>
          </a:bodyPr>
          <a:lstStyle/>
          <a:p>
            <a:endParaRPr sz="1801">
              <a:latin typeface="Arial" panose="020B0604020202020204" pitchFamily="34" charset="0"/>
            </a:endParaRPr>
          </a:p>
        </p:txBody>
      </p:sp>
    </p:spTree>
    <p:extLst>
      <p:ext uri="{BB962C8B-B14F-4D97-AF65-F5344CB8AC3E}">
        <p14:creationId xmlns:p14="http://schemas.microsoft.com/office/powerpoint/2010/main" val="115837876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1_Agenda">
    <p:spTree>
      <p:nvGrpSpPr>
        <p:cNvPr id="1" name=""/>
        <p:cNvGrpSpPr/>
        <p:nvPr/>
      </p:nvGrpSpPr>
      <p:grpSpPr>
        <a:xfrm>
          <a:off x="0" y="0"/>
          <a:ext cx="0" cy="0"/>
          <a:chOff x="0" y="0"/>
          <a:chExt cx="0" cy="0"/>
        </a:xfrm>
      </p:grpSpPr>
      <p:sp>
        <p:nvSpPr>
          <p:cNvPr id="5" name="Title 4"/>
          <p:cNvSpPr>
            <a:spLocks noGrp="1"/>
          </p:cNvSpPr>
          <p:nvPr>
            <p:ph type="title"/>
          </p:nvPr>
        </p:nvSpPr>
        <p:spPr>
          <a:xfrm>
            <a:off x="530575" y="283069"/>
            <a:ext cx="9104748" cy="435504"/>
          </a:xfrm>
        </p:spPr>
        <p:txBody>
          <a:bodyPr/>
          <a:lstStyle>
            <a:lvl1pPr>
              <a:defRPr>
                <a:solidFill>
                  <a:schemeClr val="bg1"/>
                </a:solidFill>
              </a:defRPr>
            </a:lvl1pPr>
          </a:lstStyle>
          <a:p>
            <a:r>
              <a:rPr lang="en-US"/>
              <a:t>Click to edit Master title style</a:t>
            </a:r>
          </a:p>
        </p:txBody>
      </p:sp>
      <p:sp>
        <p:nvSpPr>
          <p:cNvPr id="6" name="Rectangle 5"/>
          <p:cNvSpPr/>
          <p:nvPr userDrawn="1"/>
        </p:nvSpPr>
        <p:spPr>
          <a:xfrm>
            <a:off x="4" y="5"/>
            <a:ext cx="12192003" cy="896475"/>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tIns="121920" bIns="121920" rtlCol="0" anchor="ctr"/>
          <a:lstStyle/>
          <a:p>
            <a:pPr algn="ctr"/>
            <a:endParaRPr lang="en-US" sz="1867">
              <a:solidFill>
                <a:srgbClr val="FFFFFF"/>
              </a:solidFill>
              <a:latin typeface="Arial" panose="020B0604020202020204" pitchFamily="34" charset="0"/>
            </a:endParaRPr>
          </a:p>
        </p:txBody>
      </p:sp>
      <p:graphicFrame>
        <p:nvGraphicFramePr>
          <p:cNvPr id="2" name="Table 1">
            <a:extLst>
              <a:ext uri="{FF2B5EF4-FFF2-40B4-BE49-F238E27FC236}">
                <a16:creationId xmlns:a16="http://schemas.microsoft.com/office/drawing/2014/main" id="{45254FE7-9CD4-4561-950D-18C37E7F5166}"/>
              </a:ext>
            </a:extLst>
          </p:cNvPr>
          <p:cNvGraphicFramePr>
            <a:graphicFrameLocks noGrp="1"/>
          </p:cNvGraphicFramePr>
          <p:nvPr userDrawn="1"/>
        </p:nvGraphicFramePr>
        <p:xfrm>
          <a:off x="10165895" y="89103"/>
          <a:ext cx="1965933" cy="731520"/>
        </p:xfrm>
        <a:graphic>
          <a:graphicData uri="http://schemas.openxmlformats.org/drawingml/2006/table">
            <a:tbl>
              <a:tblPr firstRow="1" bandRow="1">
                <a:tableStyleId>{5C22544A-7EE6-4342-B048-85BDC9FD1C3A}</a:tableStyleId>
              </a:tblPr>
              <a:tblGrid>
                <a:gridCol w="655311">
                  <a:extLst>
                    <a:ext uri="{9D8B030D-6E8A-4147-A177-3AD203B41FA5}">
                      <a16:colId xmlns:a16="http://schemas.microsoft.com/office/drawing/2014/main" val="3614696266"/>
                    </a:ext>
                  </a:extLst>
                </a:gridCol>
                <a:gridCol w="655311">
                  <a:extLst>
                    <a:ext uri="{9D8B030D-6E8A-4147-A177-3AD203B41FA5}">
                      <a16:colId xmlns:a16="http://schemas.microsoft.com/office/drawing/2014/main" val="3773797325"/>
                    </a:ext>
                  </a:extLst>
                </a:gridCol>
                <a:gridCol w="655311">
                  <a:extLst>
                    <a:ext uri="{9D8B030D-6E8A-4147-A177-3AD203B41FA5}">
                      <a16:colId xmlns:a16="http://schemas.microsoft.com/office/drawing/2014/main" val="1506891881"/>
                    </a:ext>
                  </a:extLst>
                </a:gridCol>
              </a:tblGrid>
              <a:tr h="365760">
                <a:tc gridSpan="3">
                  <a:txBody>
                    <a:bodyPr/>
                    <a:lstStyle/>
                    <a:p>
                      <a:pPr algn="ctr"/>
                      <a:r>
                        <a:rPr lang="en-US" sz="1800"/>
                        <a:t>Risk Rating</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endParaRPr lang="en-US"/>
                    </a:p>
                  </a:txBody>
                  <a:tcP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endParaRPr lang="en-US"/>
                    </a:p>
                  </a:txBody>
                  <a:tcP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268967539"/>
                  </a:ext>
                </a:extLst>
              </a:tr>
              <a:tr h="365760">
                <a:tc>
                  <a:txBody>
                    <a:bodyPr/>
                    <a:lstStyle/>
                    <a:p>
                      <a:pPr algn="ctr"/>
                      <a:r>
                        <a:rPr lang="en-US" sz="1800">
                          <a:latin typeface="Webdings" panose="05030102010509060703" pitchFamily="18" charset="2"/>
                        </a:rPr>
                        <a:t>a</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FF0000"/>
                    </a:solidFill>
                  </a:tcPr>
                </a:tc>
                <a:tc>
                  <a:txBody>
                    <a:bodyPr/>
                    <a:lstStyle/>
                    <a:p>
                      <a:pPr algn="ctr"/>
                      <a:endParaRPr lang="en-US" sz="1800"/>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FFFF00"/>
                    </a:solidFill>
                  </a:tcPr>
                </a:tc>
                <a:tc>
                  <a:txBody>
                    <a:bodyPr/>
                    <a:lstStyle/>
                    <a:p>
                      <a:pPr algn="ctr"/>
                      <a:endParaRPr lang="en-US" sz="1800"/>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00CC00"/>
                    </a:solidFill>
                  </a:tcPr>
                </a:tc>
                <a:extLst>
                  <a:ext uri="{0D108BD9-81ED-4DB2-BD59-A6C34878D82A}">
                    <a16:rowId xmlns:a16="http://schemas.microsoft.com/office/drawing/2014/main" val="2471754734"/>
                  </a:ext>
                </a:extLst>
              </a:tr>
            </a:tbl>
          </a:graphicData>
        </a:graphic>
      </p:graphicFrame>
    </p:spTree>
    <p:extLst>
      <p:ext uri="{BB962C8B-B14F-4D97-AF65-F5344CB8AC3E}">
        <p14:creationId xmlns:p14="http://schemas.microsoft.com/office/powerpoint/2010/main" val="198990953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Agenda">
    <p:spTree>
      <p:nvGrpSpPr>
        <p:cNvPr id="1" name=""/>
        <p:cNvGrpSpPr/>
        <p:nvPr/>
      </p:nvGrpSpPr>
      <p:grpSpPr>
        <a:xfrm>
          <a:off x="0" y="0"/>
          <a:ext cx="0" cy="0"/>
          <a:chOff x="0" y="0"/>
          <a:chExt cx="0" cy="0"/>
        </a:xfrm>
      </p:grpSpPr>
      <p:sp>
        <p:nvSpPr>
          <p:cNvPr id="5" name="Title 4"/>
          <p:cNvSpPr>
            <a:spLocks noGrp="1"/>
          </p:cNvSpPr>
          <p:nvPr>
            <p:ph type="title"/>
          </p:nvPr>
        </p:nvSpPr>
        <p:spPr>
          <a:xfrm>
            <a:off x="530575" y="283069"/>
            <a:ext cx="9104748" cy="435504"/>
          </a:xfrm>
        </p:spPr>
        <p:txBody>
          <a:bodyPr/>
          <a:lstStyle>
            <a:lvl1pPr>
              <a:defRPr>
                <a:solidFill>
                  <a:schemeClr val="bg1"/>
                </a:solidFill>
              </a:defRPr>
            </a:lvl1pPr>
          </a:lstStyle>
          <a:p>
            <a:r>
              <a:rPr lang="en-US"/>
              <a:t>Click to edit Master title style</a:t>
            </a:r>
          </a:p>
        </p:txBody>
      </p:sp>
      <p:sp>
        <p:nvSpPr>
          <p:cNvPr id="6" name="Rectangle 5"/>
          <p:cNvSpPr/>
          <p:nvPr userDrawn="1"/>
        </p:nvSpPr>
        <p:spPr>
          <a:xfrm>
            <a:off x="4" y="5"/>
            <a:ext cx="12192003" cy="896475"/>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tIns="121920" bIns="121920" rtlCol="0" anchor="ctr"/>
          <a:lstStyle/>
          <a:p>
            <a:pPr algn="ctr"/>
            <a:endParaRPr lang="en-US" sz="1867">
              <a:solidFill>
                <a:srgbClr val="FFFFFF"/>
              </a:solidFill>
              <a:latin typeface="Arial" panose="020B0604020202020204" pitchFamily="34" charset="0"/>
            </a:endParaRPr>
          </a:p>
        </p:txBody>
      </p:sp>
      <p:graphicFrame>
        <p:nvGraphicFramePr>
          <p:cNvPr id="2" name="Table 1">
            <a:extLst>
              <a:ext uri="{FF2B5EF4-FFF2-40B4-BE49-F238E27FC236}">
                <a16:creationId xmlns:a16="http://schemas.microsoft.com/office/drawing/2014/main" id="{45254FE7-9CD4-4561-950D-18C37E7F5166}"/>
              </a:ext>
            </a:extLst>
          </p:cNvPr>
          <p:cNvGraphicFramePr>
            <a:graphicFrameLocks noGrp="1"/>
          </p:cNvGraphicFramePr>
          <p:nvPr userDrawn="1"/>
        </p:nvGraphicFramePr>
        <p:xfrm>
          <a:off x="10165895" y="89103"/>
          <a:ext cx="1965933" cy="731520"/>
        </p:xfrm>
        <a:graphic>
          <a:graphicData uri="http://schemas.openxmlformats.org/drawingml/2006/table">
            <a:tbl>
              <a:tblPr firstRow="1" bandRow="1">
                <a:tableStyleId>{5C22544A-7EE6-4342-B048-85BDC9FD1C3A}</a:tableStyleId>
              </a:tblPr>
              <a:tblGrid>
                <a:gridCol w="655311">
                  <a:extLst>
                    <a:ext uri="{9D8B030D-6E8A-4147-A177-3AD203B41FA5}">
                      <a16:colId xmlns:a16="http://schemas.microsoft.com/office/drawing/2014/main" val="3614696266"/>
                    </a:ext>
                  </a:extLst>
                </a:gridCol>
                <a:gridCol w="655311">
                  <a:extLst>
                    <a:ext uri="{9D8B030D-6E8A-4147-A177-3AD203B41FA5}">
                      <a16:colId xmlns:a16="http://schemas.microsoft.com/office/drawing/2014/main" val="3773797325"/>
                    </a:ext>
                  </a:extLst>
                </a:gridCol>
                <a:gridCol w="655311">
                  <a:extLst>
                    <a:ext uri="{9D8B030D-6E8A-4147-A177-3AD203B41FA5}">
                      <a16:colId xmlns:a16="http://schemas.microsoft.com/office/drawing/2014/main" val="1506891881"/>
                    </a:ext>
                  </a:extLst>
                </a:gridCol>
              </a:tblGrid>
              <a:tr h="365760">
                <a:tc gridSpan="3">
                  <a:txBody>
                    <a:bodyPr/>
                    <a:lstStyle/>
                    <a:p>
                      <a:pPr algn="ctr"/>
                      <a:r>
                        <a:rPr lang="en-US" sz="1800"/>
                        <a:t>Risk Rating</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endParaRPr lang="en-US"/>
                    </a:p>
                  </a:txBody>
                  <a:tcP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endParaRPr lang="en-US"/>
                    </a:p>
                  </a:txBody>
                  <a:tcP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268967539"/>
                  </a:ext>
                </a:extLst>
              </a:tr>
              <a:tr h="365760">
                <a:tc>
                  <a:txBody>
                    <a:bodyPr/>
                    <a:lstStyle/>
                    <a:p>
                      <a:pPr algn="ctr"/>
                      <a:endParaRPr lang="en-US" sz="1800">
                        <a:latin typeface="Webdings" panose="05030102010509060703" pitchFamily="18" charset="2"/>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FF0000"/>
                    </a:solidFill>
                  </a:tcPr>
                </a:tc>
                <a:tc>
                  <a:txBody>
                    <a:bodyPr/>
                    <a:lstStyle/>
                    <a:p>
                      <a:pPr algn="ctr"/>
                      <a:r>
                        <a:rPr lang="en-US" sz="1800">
                          <a:latin typeface="Webdings" panose="05030102010509060703" pitchFamily="18" charset="2"/>
                        </a:rPr>
                        <a:t>a</a:t>
                      </a:r>
                      <a:endParaRPr lang="en-US" sz="1800"/>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FFFF00"/>
                    </a:solidFill>
                  </a:tcPr>
                </a:tc>
                <a:tc>
                  <a:txBody>
                    <a:bodyPr/>
                    <a:lstStyle/>
                    <a:p>
                      <a:pPr algn="ctr"/>
                      <a:endParaRPr lang="en-US" sz="1800"/>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00CC00"/>
                    </a:solidFill>
                  </a:tcPr>
                </a:tc>
                <a:extLst>
                  <a:ext uri="{0D108BD9-81ED-4DB2-BD59-A6C34878D82A}">
                    <a16:rowId xmlns:a16="http://schemas.microsoft.com/office/drawing/2014/main" val="2471754734"/>
                  </a:ext>
                </a:extLst>
              </a:tr>
            </a:tbl>
          </a:graphicData>
        </a:graphic>
      </p:graphicFrame>
    </p:spTree>
    <p:extLst>
      <p:ext uri="{BB962C8B-B14F-4D97-AF65-F5344CB8AC3E}">
        <p14:creationId xmlns:p14="http://schemas.microsoft.com/office/powerpoint/2010/main" val="36703804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Agenda">
    <p:spTree>
      <p:nvGrpSpPr>
        <p:cNvPr id="1" name=""/>
        <p:cNvGrpSpPr/>
        <p:nvPr/>
      </p:nvGrpSpPr>
      <p:grpSpPr>
        <a:xfrm>
          <a:off x="0" y="0"/>
          <a:ext cx="0" cy="0"/>
          <a:chOff x="0" y="0"/>
          <a:chExt cx="0" cy="0"/>
        </a:xfrm>
      </p:grpSpPr>
      <p:sp>
        <p:nvSpPr>
          <p:cNvPr id="5" name="Title 4"/>
          <p:cNvSpPr>
            <a:spLocks noGrp="1"/>
          </p:cNvSpPr>
          <p:nvPr>
            <p:ph type="title"/>
          </p:nvPr>
        </p:nvSpPr>
        <p:spPr>
          <a:xfrm>
            <a:off x="530575" y="283069"/>
            <a:ext cx="9104748" cy="435504"/>
          </a:xfrm>
        </p:spPr>
        <p:txBody>
          <a:bodyPr/>
          <a:lstStyle>
            <a:lvl1pPr>
              <a:defRPr>
                <a:solidFill>
                  <a:schemeClr val="bg1"/>
                </a:solidFill>
              </a:defRPr>
            </a:lvl1pPr>
          </a:lstStyle>
          <a:p>
            <a:r>
              <a:rPr lang="en-US"/>
              <a:t>Click to edit Master title style</a:t>
            </a:r>
          </a:p>
        </p:txBody>
      </p:sp>
      <p:sp>
        <p:nvSpPr>
          <p:cNvPr id="6" name="Rectangle 5"/>
          <p:cNvSpPr/>
          <p:nvPr userDrawn="1"/>
        </p:nvSpPr>
        <p:spPr>
          <a:xfrm>
            <a:off x="4" y="5"/>
            <a:ext cx="12192003" cy="896475"/>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tIns="121920" bIns="121920" rtlCol="0" anchor="ctr"/>
          <a:lstStyle/>
          <a:p>
            <a:pPr algn="ctr"/>
            <a:endParaRPr lang="en-US" sz="1867">
              <a:solidFill>
                <a:srgbClr val="FFFFFF"/>
              </a:solidFill>
              <a:latin typeface="Arial" panose="020B0604020202020204" pitchFamily="34" charset="0"/>
            </a:endParaRPr>
          </a:p>
        </p:txBody>
      </p:sp>
      <p:graphicFrame>
        <p:nvGraphicFramePr>
          <p:cNvPr id="2" name="Table 1">
            <a:extLst>
              <a:ext uri="{FF2B5EF4-FFF2-40B4-BE49-F238E27FC236}">
                <a16:creationId xmlns:a16="http://schemas.microsoft.com/office/drawing/2014/main" id="{45254FE7-9CD4-4561-950D-18C37E7F5166}"/>
              </a:ext>
            </a:extLst>
          </p:cNvPr>
          <p:cNvGraphicFramePr>
            <a:graphicFrameLocks noGrp="1"/>
          </p:cNvGraphicFramePr>
          <p:nvPr userDrawn="1"/>
        </p:nvGraphicFramePr>
        <p:xfrm>
          <a:off x="10165895" y="89103"/>
          <a:ext cx="1965933" cy="731520"/>
        </p:xfrm>
        <a:graphic>
          <a:graphicData uri="http://schemas.openxmlformats.org/drawingml/2006/table">
            <a:tbl>
              <a:tblPr firstRow="1" bandRow="1">
                <a:tableStyleId>{5C22544A-7EE6-4342-B048-85BDC9FD1C3A}</a:tableStyleId>
              </a:tblPr>
              <a:tblGrid>
                <a:gridCol w="655311">
                  <a:extLst>
                    <a:ext uri="{9D8B030D-6E8A-4147-A177-3AD203B41FA5}">
                      <a16:colId xmlns:a16="http://schemas.microsoft.com/office/drawing/2014/main" val="3614696266"/>
                    </a:ext>
                  </a:extLst>
                </a:gridCol>
                <a:gridCol w="655311">
                  <a:extLst>
                    <a:ext uri="{9D8B030D-6E8A-4147-A177-3AD203B41FA5}">
                      <a16:colId xmlns:a16="http://schemas.microsoft.com/office/drawing/2014/main" val="3773797325"/>
                    </a:ext>
                  </a:extLst>
                </a:gridCol>
                <a:gridCol w="655311">
                  <a:extLst>
                    <a:ext uri="{9D8B030D-6E8A-4147-A177-3AD203B41FA5}">
                      <a16:colId xmlns:a16="http://schemas.microsoft.com/office/drawing/2014/main" val="1506891881"/>
                    </a:ext>
                  </a:extLst>
                </a:gridCol>
              </a:tblGrid>
              <a:tr h="365760">
                <a:tc gridSpan="3">
                  <a:txBody>
                    <a:bodyPr/>
                    <a:lstStyle/>
                    <a:p>
                      <a:pPr algn="ctr"/>
                      <a:r>
                        <a:rPr lang="en-US" sz="1800"/>
                        <a:t>Risk Rating</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endParaRPr lang="en-US"/>
                    </a:p>
                  </a:txBody>
                  <a:tcP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endParaRPr lang="en-US"/>
                    </a:p>
                  </a:txBody>
                  <a:tcP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268967539"/>
                  </a:ext>
                </a:extLst>
              </a:tr>
              <a:tr h="365760">
                <a:tc>
                  <a:txBody>
                    <a:bodyPr/>
                    <a:lstStyle/>
                    <a:p>
                      <a:pPr algn="ctr"/>
                      <a:endParaRPr lang="en-US" sz="1800">
                        <a:latin typeface="Webdings" panose="05030102010509060703" pitchFamily="18" charset="2"/>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FF0000"/>
                    </a:solidFill>
                  </a:tcPr>
                </a:tc>
                <a:tc>
                  <a:txBody>
                    <a:bodyPr/>
                    <a:lstStyle/>
                    <a:p>
                      <a:pPr algn="ctr"/>
                      <a:endParaRPr lang="en-US" sz="1800"/>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FFFF00"/>
                    </a:solidFill>
                  </a:tcPr>
                </a:tc>
                <a:tc>
                  <a:txBody>
                    <a:bodyPr/>
                    <a:lstStyle/>
                    <a:p>
                      <a:pPr algn="ctr"/>
                      <a:r>
                        <a:rPr lang="en-US" sz="1800">
                          <a:latin typeface="Webdings" panose="05030102010509060703" pitchFamily="18" charset="2"/>
                        </a:rPr>
                        <a:t>a</a:t>
                      </a:r>
                      <a:endParaRPr lang="en-US" sz="1800"/>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00CC00"/>
                    </a:solidFill>
                  </a:tcPr>
                </a:tc>
                <a:extLst>
                  <a:ext uri="{0D108BD9-81ED-4DB2-BD59-A6C34878D82A}">
                    <a16:rowId xmlns:a16="http://schemas.microsoft.com/office/drawing/2014/main" val="2471754734"/>
                  </a:ext>
                </a:extLst>
              </a:tr>
            </a:tbl>
          </a:graphicData>
        </a:graphic>
      </p:graphicFrame>
    </p:spTree>
    <p:extLst>
      <p:ext uri="{BB962C8B-B14F-4D97-AF65-F5344CB8AC3E}">
        <p14:creationId xmlns:p14="http://schemas.microsoft.com/office/powerpoint/2010/main" val="89064664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_Agenda">
    <p:spTree>
      <p:nvGrpSpPr>
        <p:cNvPr id="1" name=""/>
        <p:cNvGrpSpPr/>
        <p:nvPr/>
      </p:nvGrpSpPr>
      <p:grpSpPr>
        <a:xfrm>
          <a:off x="0" y="0"/>
          <a:ext cx="0" cy="0"/>
          <a:chOff x="0" y="0"/>
          <a:chExt cx="0" cy="0"/>
        </a:xfrm>
      </p:grpSpPr>
      <p:sp>
        <p:nvSpPr>
          <p:cNvPr id="5" name="Title 4"/>
          <p:cNvSpPr>
            <a:spLocks noGrp="1"/>
          </p:cNvSpPr>
          <p:nvPr>
            <p:ph type="title"/>
          </p:nvPr>
        </p:nvSpPr>
        <p:spPr>
          <a:xfrm>
            <a:off x="530575" y="283069"/>
            <a:ext cx="9104748" cy="435504"/>
          </a:xfrm>
        </p:spPr>
        <p:txBody>
          <a:bodyPr/>
          <a:lstStyle>
            <a:lvl1pPr>
              <a:defRPr>
                <a:solidFill>
                  <a:schemeClr val="bg1"/>
                </a:solidFill>
              </a:defRPr>
            </a:lvl1pPr>
          </a:lstStyle>
          <a:p>
            <a:r>
              <a:rPr lang="en-US"/>
              <a:t>Click to edit Master title style</a:t>
            </a:r>
          </a:p>
        </p:txBody>
      </p:sp>
      <p:sp>
        <p:nvSpPr>
          <p:cNvPr id="6" name="Rectangle 5"/>
          <p:cNvSpPr/>
          <p:nvPr userDrawn="1"/>
        </p:nvSpPr>
        <p:spPr>
          <a:xfrm>
            <a:off x="4" y="5"/>
            <a:ext cx="12192003" cy="896475"/>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tIns="121920" bIns="121920" rtlCol="0" anchor="ctr"/>
          <a:lstStyle/>
          <a:p>
            <a:pPr algn="ctr"/>
            <a:endParaRPr lang="en-US" sz="1867">
              <a:solidFill>
                <a:srgbClr val="FFFFFF"/>
              </a:solidFill>
              <a:latin typeface="Arial" panose="020B0604020202020204" pitchFamily="34" charset="0"/>
            </a:endParaRPr>
          </a:p>
        </p:txBody>
      </p:sp>
    </p:spTree>
    <p:extLst>
      <p:ext uri="{BB962C8B-B14F-4D97-AF65-F5344CB8AC3E}">
        <p14:creationId xmlns:p14="http://schemas.microsoft.com/office/powerpoint/2010/main" val="344546000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userDrawn="1">
  <p:cSld name="1_DIVIDER 3">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723511" y="1759353"/>
            <a:ext cx="8256000" cy="3510000"/>
          </a:xfrm>
        </p:spPr>
        <p:txBody>
          <a:bodyPr anchor="t" anchorCtr="0"/>
          <a:lstStyle>
            <a:lvl1pPr algn="l">
              <a:defRPr sz="11001">
                <a:solidFill>
                  <a:schemeClr val="bg1"/>
                </a:solidFill>
              </a:defRPr>
            </a:lvl1pPr>
          </a:lstStyle>
          <a:p>
            <a:r>
              <a:rPr lang="en-GB"/>
              <a:t>Section divider three title style</a:t>
            </a:r>
            <a:endParaRPr lang="en-US"/>
          </a:p>
        </p:txBody>
      </p:sp>
      <p:sp>
        <p:nvSpPr>
          <p:cNvPr id="4" name="object 3"/>
          <p:cNvSpPr/>
          <p:nvPr userDrawn="1"/>
        </p:nvSpPr>
        <p:spPr>
          <a:xfrm>
            <a:off x="9" y="0"/>
            <a:ext cx="1344084"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chemeClr val="accent1"/>
          </a:solidFill>
        </p:spPr>
        <p:txBody>
          <a:bodyPr wrap="square" lIns="0" tIns="0" rIns="0" bIns="0" rtlCol="0">
            <a:noAutofit/>
          </a:bodyPr>
          <a:lstStyle/>
          <a:p>
            <a:endParaRPr sz="1801">
              <a:latin typeface="Arial" panose="020B0604020202020204" pitchFamily="34" charset="0"/>
            </a:endParaRPr>
          </a:p>
        </p:txBody>
      </p:sp>
    </p:spTree>
    <p:extLst>
      <p:ext uri="{BB962C8B-B14F-4D97-AF65-F5344CB8AC3E}">
        <p14:creationId xmlns:p14="http://schemas.microsoft.com/office/powerpoint/2010/main" val="134388296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5_Agenda">
    <p:spTree>
      <p:nvGrpSpPr>
        <p:cNvPr id="1" name=""/>
        <p:cNvGrpSpPr/>
        <p:nvPr/>
      </p:nvGrpSpPr>
      <p:grpSpPr>
        <a:xfrm>
          <a:off x="0" y="0"/>
          <a:ext cx="0" cy="0"/>
          <a:chOff x="0" y="0"/>
          <a:chExt cx="0" cy="0"/>
        </a:xfrm>
      </p:grpSpPr>
      <p:sp>
        <p:nvSpPr>
          <p:cNvPr id="5" name="Title 4"/>
          <p:cNvSpPr>
            <a:spLocks noGrp="1"/>
          </p:cNvSpPr>
          <p:nvPr>
            <p:ph type="title"/>
          </p:nvPr>
        </p:nvSpPr>
        <p:spPr>
          <a:xfrm>
            <a:off x="530574" y="283069"/>
            <a:ext cx="9104751" cy="435504"/>
          </a:xfrm>
        </p:spPr>
        <p:txBody>
          <a:bodyPr/>
          <a:lstStyle>
            <a:lvl1pPr>
              <a:defRPr>
                <a:solidFill>
                  <a:schemeClr val="bg1"/>
                </a:solidFill>
              </a:defRPr>
            </a:lvl1pPr>
          </a:lstStyle>
          <a:p>
            <a:r>
              <a:rPr lang="en-US"/>
              <a:t>Click to edit Master title style</a:t>
            </a:r>
          </a:p>
        </p:txBody>
      </p:sp>
      <p:sp>
        <p:nvSpPr>
          <p:cNvPr id="6" name="Rectangle 5"/>
          <p:cNvSpPr/>
          <p:nvPr userDrawn="1"/>
        </p:nvSpPr>
        <p:spPr>
          <a:xfrm>
            <a:off x="5" y="9"/>
            <a:ext cx="12192003" cy="896475"/>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tIns="121920" bIns="121920" rtlCol="0" anchor="ctr"/>
          <a:lstStyle/>
          <a:p>
            <a:pPr algn="ctr"/>
            <a:endParaRPr lang="en-US" sz="1867">
              <a:solidFill>
                <a:srgbClr val="FFFFFF"/>
              </a:solidFill>
              <a:latin typeface="Arial" panose="020B0604020202020204" pitchFamily="34" charset="0"/>
            </a:endParaRPr>
          </a:p>
        </p:txBody>
      </p:sp>
    </p:spTree>
    <p:extLst>
      <p:ext uri="{BB962C8B-B14F-4D97-AF65-F5344CB8AC3E}">
        <p14:creationId xmlns:p14="http://schemas.microsoft.com/office/powerpoint/2010/main" val="413329387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vmlDrawing" Target="../drawings/vmlDrawing1.vml"/><Relationship Id="rId17" Type="http://schemas.openxmlformats.org/officeDocument/2006/relationships/image" Target="../media/image2.emf"/><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3" Type="http://schemas.openxmlformats.org/officeDocument/2006/relationships/slideLayout" Target="../slideLayouts/slideLayout13.xml"/><Relationship Id="rId7" Type="http://schemas.openxmlformats.org/officeDocument/2006/relationships/slideLayout" Target="../slideLayouts/slideLayout17.xml"/><Relationship Id="rId12" Type="http://schemas.openxmlformats.org/officeDocument/2006/relationships/theme" Target="../theme/theme2.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5" Type="http://schemas.openxmlformats.org/officeDocument/2006/relationships/slideLayout" Target="../slideLayouts/slideLayout15.xml"/><Relationship Id="rId10" Type="http://schemas.openxmlformats.org/officeDocument/2006/relationships/slideLayout" Target="../slideLayouts/slideLayout20.xml"/><Relationship Id="rId4" Type="http://schemas.openxmlformats.org/officeDocument/2006/relationships/slideLayout" Target="../slideLayouts/slideLayout14.xml"/><Relationship Id="rId9"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3"/>
            </p:custDataLst>
          </p:nvPr>
        </p:nvGraphicFramePr>
        <p:xfrm>
          <a:off x="1960" y="1596"/>
          <a:ext cx="1955" cy="1587"/>
        </p:xfrm>
        <a:graphic>
          <a:graphicData uri="http://schemas.openxmlformats.org/presentationml/2006/ole">
            <mc:AlternateContent xmlns:mc="http://schemas.openxmlformats.org/markup-compatibility/2006">
              <mc:Choice xmlns:v="urn:schemas-microsoft-com:vml" Requires="v">
                <p:oleObj spid="_x0000_s1025" name="think-cell Slide" r:id="rId15" imgW="216" imgH="216" progId="TCLayout.ActiveDocument.1">
                  <p:embed/>
                </p:oleObj>
              </mc:Choice>
              <mc:Fallback>
                <p:oleObj name="think-cell Slide" r:id="rId15" imgW="216" imgH="216" progId="TCLayout.ActiveDocument.1">
                  <p:embed/>
                  <p:pic>
                    <p:nvPicPr>
                      <p:cNvPr id="2" name="Object 1" hidden="1"/>
                      <p:cNvPicPr/>
                      <p:nvPr/>
                    </p:nvPicPr>
                    <p:blipFill>
                      <a:blip r:embed="rId16"/>
                      <a:stretch>
                        <a:fillRect/>
                      </a:stretch>
                    </p:blipFill>
                    <p:spPr>
                      <a:xfrm>
                        <a:off x="1960" y="1596"/>
                        <a:ext cx="1955" cy="1587"/>
                      </a:xfrm>
                      <a:prstGeom prst="rect">
                        <a:avLst/>
                      </a:prstGeom>
                    </p:spPr>
                  </p:pic>
                </p:oleObj>
              </mc:Fallback>
            </mc:AlternateContent>
          </a:graphicData>
        </a:graphic>
      </p:graphicFrame>
      <p:sp>
        <p:nvSpPr>
          <p:cNvPr id="78" name="Title Placeholder 77"/>
          <p:cNvSpPr>
            <a:spLocks noGrp="1"/>
          </p:cNvSpPr>
          <p:nvPr>
            <p:ph type="title"/>
          </p:nvPr>
        </p:nvSpPr>
        <p:spPr>
          <a:xfrm>
            <a:off x="999751" y="292609"/>
            <a:ext cx="10181167" cy="768992"/>
          </a:xfrm>
          <a:prstGeom prst="rect">
            <a:avLst/>
          </a:prstGeom>
          <a:noFill/>
        </p:spPr>
        <p:txBody>
          <a:bodyPr vert="horz" lIns="0" tIns="0" rIns="0" bIns="0" rtlCol="0" anchor="t" anchorCtr="0">
            <a:noAutofit/>
          </a:bodyPr>
          <a:lstStyle/>
          <a:p>
            <a:r>
              <a:rPr lang="en-US"/>
              <a:t>Click to edit Master title style</a:t>
            </a:r>
          </a:p>
        </p:txBody>
      </p:sp>
      <p:sp>
        <p:nvSpPr>
          <p:cNvPr id="6" name="Text Placeholder 5"/>
          <p:cNvSpPr>
            <a:spLocks noGrp="1"/>
          </p:cNvSpPr>
          <p:nvPr>
            <p:ph type="body" idx="1"/>
          </p:nvPr>
        </p:nvSpPr>
        <p:spPr>
          <a:xfrm>
            <a:off x="999747" y="1349086"/>
            <a:ext cx="10207296" cy="459870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descr="KPMG_NoCP_PMS287_US_283_6779.eps"/>
          <p:cNvPicPr>
            <a:picLocks noChangeAspect="1"/>
          </p:cNvPicPr>
          <p:nvPr userDrawn="1"/>
        </p:nvPicPr>
        <p:blipFill rotWithShape="1">
          <a:blip r:embed="rId17" cstate="email">
            <a:extLst>
              <a:ext uri="{28A0092B-C50C-407E-A947-70E740481C1C}">
                <a14:useLocalDpi xmlns:a14="http://schemas.microsoft.com/office/drawing/2010/main"/>
              </a:ext>
            </a:extLst>
          </a:blip>
          <a:srcRect l="7057" t="24107" r="10265" b="24107"/>
          <a:stretch/>
        </p:blipFill>
        <p:spPr>
          <a:xfrm>
            <a:off x="583291" y="6473755"/>
            <a:ext cx="814620" cy="365125"/>
          </a:xfrm>
          <a:prstGeom prst="rect">
            <a:avLst/>
          </a:prstGeom>
        </p:spPr>
      </p:pic>
      <p:sp>
        <p:nvSpPr>
          <p:cNvPr id="10" name="Slide Number Placeholder 2"/>
          <p:cNvSpPr txBox="1">
            <a:spLocks/>
          </p:cNvSpPr>
          <p:nvPr userDrawn="1"/>
        </p:nvSpPr>
        <p:spPr>
          <a:xfrm>
            <a:off x="10885953" y="6473756"/>
            <a:ext cx="910044" cy="365125"/>
          </a:xfrm>
          <a:prstGeom prst="rect">
            <a:avLst/>
          </a:prstGeom>
        </p:spPr>
        <p:txBody>
          <a:bodyPr vert="horz" lIns="91440" tIns="45721" rIns="91440" bIns="45721" rtlCol="0" anchor="ctr"/>
          <a:lstStyle>
            <a:defPPr>
              <a:defRPr lang="en-US"/>
            </a:defPPr>
            <a:lvl1pPr marL="0" algn="r" defTabSz="410291" rtl="0" eaLnBrk="1" latinLnBrk="0" hangingPunct="1">
              <a:defRPr sz="1100" kern="1200">
                <a:solidFill>
                  <a:srgbClr val="00338D"/>
                </a:solidFill>
                <a:latin typeface="Univers for KPMG" panose="020B0603020202020204" pitchFamily="34" charset="0"/>
                <a:ea typeface="+mn-ea"/>
                <a:cs typeface="+mn-cs"/>
              </a:defRPr>
            </a:lvl1pPr>
            <a:lvl2pPr marL="410291" algn="l" defTabSz="410291" rtl="0" eaLnBrk="1" latinLnBrk="0" hangingPunct="1">
              <a:defRPr sz="1600" kern="1200">
                <a:solidFill>
                  <a:schemeClr val="tx1"/>
                </a:solidFill>
                <a:latin typeface="+mn-lt"/>
                <a:ea typeface="+mn-ea"/>
                <a:cs typeface="+mn-cs"/>
              </a:defRPr>
            </a:lvl2pPr>
            <a:lvl3pPr marL="820583" algn="l" defTabSz="410291" rtl="0" eaLnBrk="1" latinLnBrk="0" hangingPunct="1">
              <a:defRPr sz="1600" kern="1200">
                <a:solidFill>
                  <a:schemeClr val="tx1"/>
                </a:solidFill>
                <a:latin typeface="+mn-lt"/>
                <a:ea typeface="+mn-ea"/>
                <a:cs typeface="+mn-cs"/>
              </a:defRPr>
            </a:lvl3pPr>
            <a:lvl4pPr marL="1230874" algn="l" defTabSz="410291" rtl="0" eaLnBrk="1" latinLnBrk="0" hangingPunct="1">
              <a:defRPr sz="1600" kern="1200">
                <a:solidFill>
                  <a:schemeClr val="tx1"/>
                </a:solidFill>
                <a:latin typeface="+mn-lt"/>
                <a:ea typeface="+mn-ea"/>
                <a:cs typeface="+mn-cs"/>
              </a:defRPr>
            </a:lvl4pPr>
            <a:lvl5pPr marL="1641165" algn="l" defTabSz="410291" rtl="0" eaLnBrk="1" latinLnBrk="0" hangingPunct="1">
              <a:defRPr sz="1600" kern="1200">
                <a:solidFill>
                  <a:schemeClr val="tx1"/>
                </a:solidFill>
                <a:latin typeface="+mn-lt"/>
                <a:ea typeface="+mn-ea"/>
                <a:cs typeface="+mn-cs"/>
              </a:defRPr>
            </a:lvl5pPr>
            <a:lvl6pPr marL="2051456" algn="l" defTabSz="410291" rtl="0" eaLnBrk="1" latinLnBrk="0" hangingPunct="1">
              <a:defRPr sz="1600" kern="1200">
                <a:solidFill>
                  <a:schemeClr val="tx1"/>
                </a:solidFill>
                <a:latin typeface="+mn-lt"/>
                <a:ea typeface="+mn-ea"/>
                <a:cs typeface="+mn-cs"/>
              </a:defRPr>
            </a:lvl6pPr>
            <a:lvl7pPr marL="2461748" algn="l" defTabSz="410291" rtl="0" eaLnBrk="1" latinLnBrk="0" hangingPunct="1">
              <a:defRPr sz="1600" kern="1200">
                <a:solidFill>
                  <a:schemeClr val="tx1"/>
                </a:solidFill>
                <a:latin typeface="+mn-lt"/>
                <a:ea typeface="+mn-ea"/>
                <a:cs typeface="+mn-cs"/>
              </a:defRPr>
            </a:lvl7pPr>
            <a:lvl8pPr marL="2872039" algn="l" defTabSz="410291" rtl="0" eaLnBrk="1" latinLnBrk="0" hangingPunct="1">
              <a:defRPr sz="1600" kern="1200">
                <a:solidFill>
                  <a:schemeClr val="tx1"/>
                </a:solidFill>
                <a:latin typeface="+mn-lt"/>
                <a:ea typeface="+mn-ea"/>
                <a:cs typeface="+mn-cs"/>
              </a:defRPr>
            </a:lvl8pPr>
            <a:lvl9pPr marL="3282330" algn="l" defTabSz="410291" rtl="0" eaLnBrk="1" latinLnBrk="0" hangingPunct="1">
              <a:defRPr sz="1600" kern="1200">
                <a:solidFill>
                  <a:schemeClr val="tx1"/>
                </a:solidFill>
                <a:latin typeface="+mn-lt"/>
                <a:ea typeface="+mn-ea"/>
                <a:cs typeface="+mn-cs"/>
              </a:defRPr>
            </a:lvl9pPr>
          </a:lstStyle>
          <a:p>
            <a:fld id="{F5720C74-DF7F-4219-833F-24107FE1C2EA}" type="slidenum">
              <a:rPr lang="en-CA" sz="1100" smtClean="0"/>
              <a:pPr/>
              <a:t>‹#›</a:t>
            </a:fld>
            <a:endParaRPr lang="en-CA" sz="1100"/>
          </a:p>
        </p:txBody>
      </p:sp>
      <p:sp>
        <p:nvSpPr>
          <p:cNvPr id="5" name="Shape 36"/>
          <p:cNvSpPr/>
          <p:nvPr userDrawn="1">
            <p:custDataLst>
              <p:tags r:id="rId14"/>
            </p:custDataLst>
          </p:nvPr>
        </p:nvSpPr>
        <p:spPr>
          <a:xfrm>
            <a:off x="2009430" y="6590787"/>
            <a:ext cx="8421511" cy="410966"/>
          </a:xfrm>
          <a:prstGeom prst="rect">
            <a:avLst/>
          </a:prstGeom>
          <a:ln w="12700">
            <a:miter lim="400000"/>
          </a:ln>
          <a:extLst>
            <a:ext uri="{C572A759-6A51-4108-AA02-DFA0A04FC94B}">
              <ma14:wrappingTextBoxFlag xmlns:ma14="http://schemas.microsoft.com/office/mac/drawingml/2011/main" xmlns="" val="1"/>
            </a:ext>
          </a:extLst>
        </p:spPr>
        <p:txBody>
          <a:bodyPr lIns="0" tIns="0" rIns="0" bIns="0"/>
          <a:lstStyle>
            <a:lvl1pPr defTabSz="914400">
              <a:defRPr sz="800">
                <a:solidFill>
                  <a:srgbClr val="004C97"/>
                </a:solidFill>
                <a:latin typeface="Univers for KPMG"/>
                <a:ea typeface="Univers for KPMG"/>
                <a:cs typeface="Univers for KPMG"/>
                <a:sym typeface="Univers for KPMG"/>
              </a:defRPr>
            </a:lvl1pPr>
          </a:lstStyle>
          <a:p>
            <a:pPr lvl="0">
              <a:defRPr sz="1800">
                <a:solidFill>
                  <a:srgbClr val="000000"/>
                </a:solidFill>
              </a:defRPr>
            </a:pPr>
            <a:r>
              <a:rPr lang="en-US" sz="651">
                <a:solidFill>
                  <a:schemeClr val="bg1">
                    <a:lumMod val="65000"/>
                  </a:schemeClr>
                </a:solidFill>
                <a:latin typeface="Univers for KPMG Light"/>
                <a:ea typeface="Univers for KPMG Light"/>
                <a:cs typeface="Univers for KPMG Light"/>
              </a:rPr>
              <a:t>© 2020 KPMG, an Indian Registered Partnership and a member firm of the KPMG network of independent member firms affiliated with KPMG International Cooperative (“KPMG International”), a Swiss entity. All rights reserved.</a:t>
            </a:r>
            <a:endParaRPr sz="651">
              <a:solidFill>
                <a:schemeClr val="bg1">
                  <a:lumMod val="65000"/>
                </a:schemeClr>
              </a:solidFill>
              <a:latin typeface="Univers for KPMG Light"/>
              <a:ea typeface="Univers for KPMG Light"/>
              <a:cs typeface="Univers for KPMG Light"/>
            </a:endParaRPr>
          </a:p>
        </p:txBody>
      </p:sp>
    </p:spTree>
    <p:extLst>
      <p:ext uri="{BB962C8B-B14F-4D97-AF65-F5344CB8AC3E}">
        <p14:creationId xmlns:p14="http://schemas.microsoft.com/office/powerpoint/2010/main" val="203731905"/>
      </p:ext>
    </p:extLst>
  </p:cSld>
  <p:clrMap bg1="lt1" tx1="dk1" bg2="lt2" tx2="dk2" accent1="accent1" accent2="accent2" accent3="accent3" accent4="accent4" accent5="accent5" accent6="accent6" hlink="hlink" folHlink="folHlink"/>
  <p:sldLayoutIdLst>
    <p:sldLayoutId id="2147483665" r:id="rId1"/>
    <p:sldLayoutId id="2147483667" r:id="rId2"/>
    <p:sldLayoutId id="2147483668" r:id="rId3"/>
    <p:sldLayoutId id="2147483669" r:id="rId4"/>
    <p:sldLayoutId id="2147483670" r:id="rId5"/>
    <p:sldLayoutId id="2147483671" r:id="rId6"/>
    <p:sldLayoutId id="2147483672" r:id="rId7"/>
    <p:sldLayoutId id="2147483661" r:id="rId8"/>
    <p:sldLayoutId id="2147483662" r:id="rId9"/>
    <p:sldLayoutId id="2147483663" r:id="rId10"/>
  </p:sldLayoutIdLst>
  <p:hf sldNum="0" hdr="0" ftr="0" dt="0"/>
  <p:txStyles>
    <p:titleStyle>
      <a:lvl1pPr algn="l" eaLnBrk="1" hangingPunct="1">
        <a:lnSpc>
          <a:spcPct val="100000"/>
        </a:lnSpc>
        <a:defRPr sz="5401" b="0" i="0">
          <a:solidFill>
            <a:srgbClr val="00338D"/>
          </a:solidFill>
          <a:latin typeface="KPMG Extralight"/>
          <a:cs typeface="KPMG Extralight"/>
        </a:defRPr>
      </a:lvl1pPr>
    </p:titleStyle>
    <p:bodyStyle>
      <a:lvl1pPr eaLnBrk="1" hangingPunct="1">
        <a:spcAft>
          <a:spcPts val="651"/>
        </a:spcAft>
        <a:defRPr sz="15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01"/>
        </a:spcAft>
        <a:buFont typeface="Univers for KPMG"/>
        <a:buNone/>
        <a:defRPr sz="1500" b="0" i="0">
          <a:solidFill>
            <a:srgbClr val="003087"/>
          </a:solidFill>
          <a:latin typeface="Univers for KPMG Light" panose="020B0403020202020204" pitchFamily="34" charset="0"/>
          <a:cs typeface="Univers for KPMG" panose="020B0603020202020204" pitchFamily="34" charset="0"/>
        </a:defRPr>
      </a:lvl2pPr>
      <a:lvl3pPr marL="307963" indent="-283454" algn="l" eaLnBrk="1" hangingPunct="1">
        <a:spcAft>
          <a:spcPts val="601"/>
        </a:spcAft>
        <a:buFont typeface="Univers for KPMG Light" panose="020B0403020202020204" pitchFamily="34" charset="0"/>
        <a:buChar char="—"/>
        <a:defRPr sz="1500" b="0" i="0">
          <a:solidFill>
            <a:srgbClr val="003087"/>
          </a:solidFill>
          <a:latin typeface="Univers for KPMG Light" panose="020B0403020202020204" pitchFamily="34" charset="0"/>
          <a:cs typeface="Univers for KPMG" panose="020B0603020202020204" pitchFamily="34" charset="0"/>
        </a:defRPr>
      </a:lvl3pPr>
      <a:lvl4pPr marL="623864" indent="-228592" algn="l" eaLnBrk="1" hangingPunct="1">
        <a:spcAft>
          <a:spcPts val="601"/>
        </a:spcAft>
        <a:buFont typeface="Univers for KPMG Light" panose="020B0403020202020204" pitchFamily="34" charset="0"/>
        <a:buChar char="-"/>
        <a:defRPr sz="1500" b="0" i="0" baseline="0">
          <a:solidFill>
            <a:srgbClr val="003087"/>
          </a:solidFill>
          <a:latin typeface="Univers for KPMG Light" panose="020B0403020202020204" pitchFamily="34" charset="0"/>
          <a:cs typeface="Univers for KPMG" panose="020B0603020202020204" pitchFamily="34" charset="0"/>
        </a:defRPr>
      </a:lvl4pPr>
      <a:lvl5pPr marL="982626" indent="-283454" algn="l" eaLnBrk="1" hangingPunct="1">
        <a:spcAft>
          <a:spcPts val="601"/>
        </a:spcAft>
        <a:buFont typeface="Univers for KPMG Light" panose="020B0403020202020204" pitchFamily="34" charset="0"/>
        <a:buChar char="—"/>
        <a:defRPr lang="en-US" sz="1500" b="0" i="0" dirty="0" smtClean="0">
          <a:solidFill>
            <a:srgbClr val="003087"/>
          </a:solidFill>
          <a:latin typeface="Univers for KPMG Light" panose="020B0403020202020204" pitchFamily="34" charset="0"/>
          <a:cs typeface="Univers for KPMG" panose="020B0603020202020204" pitchFamily="34" charset="0"/>
        </a:defRPr>
      </a:lvl5pPr>
      <a:lvl6pPr marL="1257254" indent="-228592" algn="l" eaLnBrk="1" hangingPunct="1">
        <a:spcAft>
          <a:spcPts val="601"/>
        </a:spcAft>
        <a:buFont typeface="Univers for KPMG Light" panose="020B0403020202020204" pitchFamily="34" charset="0"/>
        <a:buChar char="-"/>
        <a:defRPr lang="en-US" sz="1500" b="0" i="0" baseline="0" dirty="0" smtClean="0">
          <a:solidFill>
            <a:srgbClr val="003087"/>
          </a:solidFill>
          <a:latin typeface="Univers for KPMG Light" panose="020B0403020202020204" pitchFamily="34" charset="0"/>
        </a:defRPr>
      </a:lvl6pPr>
      <a:lvl7pPr marL="1619190" indent="-283454" algn="l" eaLnBrk="1" hangingPunct="1">
        <a:spcAft>
          <a:spcPts val="601"/>
        </a:spcAft>
        <a:buFont typeface="Univers for KPMG Light" panose="020B0403020202020204" pitchFamily="34" charset="0"/>
        <a:buChar char="—"/>
        <a:defRPr lang="en-US" sz="1500" b="0" i="0" dirty="0" smtClean="0">
          <a:solidFill>
            <a:srgbClr val="003087"/>
          </a:solidFill>
          <a:latin typeface="Univers for KPMG Light" panose="020B0403020202020204" pitchFamily="34" charset="0"/>
        </a:defRPr>
      </a:lvl7pPr>
      <a:lvl8pPr marL="1885881" indent="-228592" algn="l" eaLnBrk="1" hangingPunct="1">
        <a:spcAft>
          <a:spcPts val="601"/>
        </a:spcAft>
        <a:buFont typeface="Univers for KPMG Light" panose="020B0403020202020204" pitchFamily="34" charset="0"/>
        <a:buChar char="-"/>
        <a:defRPr lang="en-US" sz="1500" b="0" i="0" baseline="0" dirty="0" smtClean="0">
          <a:solidFill>
            <a:srgbClr val="003087"/>
          </a:solidFill>
          <a:latin typeface="Univers for KPMG Light" panose="020B0403020202020204" pitchFamily="34" charset="0"/>
        </a:defRPr>
      </a:lvl8pPr>
    </p:bodyStyle>
    <p:otherStyle/>
  </p:txStyles>
  <p:extLst>
    <p:ext uri="{27BBF7A9-308A-43DC-89C8-2F10F3537804}">
      <p15:sldGuideLst xmlns:p15="http://schemas.microsoft.com/office/powerpoint/2012/main">
        <p15:guide id="1" orient="horz" pos="720" userDrawn="1">
          <p15:clr>
            <a:srgbClr val="F26B43"/>
          </p15:clr>
        </p15:guide>
        <p15:guide id="2" pos="704" userDrawn="1">
          <p15:clr>
            <a:srgbClr val="F26B43"/>
          </p15:clr>
        </p15:guide>
        <p15:guide id="3" pos="7680" userDrawn="1">
          <p15:clr>
            <a:srgbClr val="F26B43"/>
          </p15:clr>
        </p15:guide>
        <p15:guide id="4" orient="horz" pos="432" userDrawn="1">
          <p15:clr>
            <a:srgbClr val="F26B43"/>
          </p15:clr>
        </p15:guide>
        <p15:guide id="5" orient="horz" pos="960" userDrawn="1">
          <p15:clr>
            <a:srgbClr val="F26B43"/>
          </p15:clr>
        </p15:guide>
        <p15:guide id="6" orient="horz" pos="4272" userDrawn="1">
          <p15:clr>
            <a:srgbClr val="F26B43"/>
          </p15:clr>
        </p15:guide>
        <p15:guide id="7" pos="4096" userDrawn="1">
          <p15:clr>
            <a:srgbClr val="F26B43"/>
          </p15:clr>
        </p15:guide>
        <p15:guide id="8" pos="428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550CBCD-B0AF-4772-BC53-067D15F98B1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0AD702A1-657D-4A63-90B6-2B763131565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A701FB8-D0B0-467B-AA29-B93EA563050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82FDE51-C9E2-4DD2-8D5A-45CC3A661743}" type="datetimeFigureOut">
              <a:rPr lang="en-US" smtClean="0"/>
              <a:t>3/6/2020</a:t>
            </a:fld>
            <a:endParaRPr lang="en-US"/>
          </a:p>
        </p:txBody>
      </p:sp>
      <p:sp>
        <p:nvSpPr>
          <p:cNvPr id="5" name="Footer Placeholder 4">
            <a:extLst>
              <a:ext uri="{FF2B5EF4-FFF2-40B4-BE49-F238E27FC236}">
                <a16:creationId xmlns:a16="http://schemas.microsoft.com/office/drawing/2014/main" id="{E8FA4C48-B1DD-476B-A15E-1487C4A2EAF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4C2B6642-0A35-4A4A-A610-24B2B95C6EF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A97B9A2-02CD-4546-8A2E-87D1D4FD33F3}" type="slidenum">
              <a:rPr lang="en-US" smtClean="0"/>
              <a:t>‹#›</a:t>
            </a:fld>
            <a:endParaRPr lang="en-US"/>
          </a:p>
        </p:txBody>
      </p:sp>
    </p:spTree>
    <p:extLst>
      <p:ext uri="{BB962C8B-B14F-4D97-AF65-F5344CB8AC3E}">
        <p14:creationId xmlns:p14="http://schemas.microsoft.com/office/powerpoint/2010/main" val="3320174594"/>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xml"/><Relationship Id="rId1" Type="http://schemas.openxmlformats.org/officeDocument/2006/relationships/themeOverride" Target="../theme/themeOverride3.xml"/><Relationship Id="rId4" Type="http://schemas.openxmlformats.org/officeDocument/2006/relationships/notesSlide" Target="../notesSlides/notesSlide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6E7B82C-4F08-4112-B831-777B4E84085F}"/>
              </a:ext>
            </a:extLst>
          </p:cNvPr>
          <p:cNvSpPr>
            <a:spLocks noGrp="1"/>
          </p:cNvSpPr>
          <p:nvPr>
            <p:ph type="body" sz="quarter" idx="11"/>
          </p:nvPr>
        </p:nvSpPr>
        <p:spPr>
          <a:xfrm>
            <a:off x="1546537" y="6271548"/>
            <a:ext cx="8230267" cy="216000"/>
          </a:xfrm>
        </p:spPr>
        <p:txBody>
          <a:bodyPr>
            <a:noAutofit/>
          </a:bodyPr>
          <a:lstStyle/>
          <a:p>
            <a:pPr marL="0" indent="0">
              <a:buNone/>
            </a:pPr>
            <a:r>
              <a:rPr lang="en-US">
                <a:latin typeface="Univers for KPMG" panose="020B0603020202020204" pitchFamily="34" charset="0"/>
              </a:rPr>
              <a:t>February, 2020</a:t>
            </a:r>
          </a:p>
        </p:txBody>
      </p:sp>
      <p:sp>
        <p:nvSpPr>
          <p:cNvPr id="5" name="Title 4">
            <a:extLst>
              <a:ext uri="{FF2B5EF4-FFF2-40B4-BE49-F238E27FC236}">
                <a16:creationId xmlns:a16="http://schemas.microsoft.com/office/drawing/2014/main" id="{19C3C107-D287-4061-A53C-A71D02B36377}"/>
              </a:ext>
            </a:extLst>
          </p:cNvPr>
          <p:cNvSpPr>
            <a:spLocks noGrp="1"/>
          </p:cNvSpPr>
          <p:nvPr>
            <p:ph type="ctrTitle"/>
          </p:nvPr>
        </p:nvSpPr>
        <p:spPr>
          <a:xfrm>
            <a:off x="1546537" y="1582369"/>
            <a:ext cx="10382866" cy="4250395"/>
          </a:xfrm>
        </p:spPr>
        <p:txBody>
          <a:bodyPr>
            <a:normAutofit/>
          </a:bodyPr>
          <a:lstStyle/>
          <a:p>
            <a:r>
              <a:rPr lang="en-US" sz="6000" b="1">
                <a:latin typeface="KPMG Extralight" panose="020B0303030202040204" pitchFamily="34" charset="0"/>
              </a:rPr>
              <a:t>Name of the client</a:t>
            </a:r>
            <a:br>
              <a:rPr lang="en-US" sz="6000" b="1">
                <a:latin typeface="KPMG Extralight" panose="020B0303030202040204" pitchFamily="34" charset="0"/>
              </a:rPr>
            </a:br>
            <a:br>
              <a:rPr lang="en-US" sz="6000" b="1">
                <a:latin typeface="KPMG Extralight" panose="020B0303030202040204" pitchFamily="34" charset="0"/>
              </a:rPr>
            </a:br>
            <a:r>
              <a:rPr lang="en-US" sz="5400" b="1">
                <a:latin typeface="KPMG Extralight" panose="020B0303030202040204" pitchFamily="34" charset="0"/>
              </a:rPr>
              <a:t>Internal Audit - Review for Audit Period_________</a:t>
            </a:r>
          </a:p>
        </p:txBody>
      </p:sp>
    </p:spTree>
    <p:extLst>
      <p:ext uri="{BB962C8B-B14F-4D97-AF65-F5344CB8AC3E}">
        <p14:creationId xmlns:p14="http://schemas.microsoft.com/office/powerpoint/2010/main" val="327338120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8" name="Group 25"/>
          <p:cNvGrpSpPr>
            <a:grpSpLocks/>
          </p:cNvGrpSpPr>
          <p:nvPr/>
        </p:nvGrpSpPr>
        <p:grpSpPr bwMode="auto">
          <a:xfrm>
            <a:off x="859252" y="1609335"/>
            <a:ext cx="5413248" cy="464236"/>
            <a:chOff x="2016" y="308"/>
            <a:chExt cx="3456" cy="372"/>
          </a:xfrm>
        </p:grpSpPr>
        <p:sp>
          <p:nvSpPr>
            <p:cNvPr id="9" name="Rectangle 7"/>
            <p:cNvSpPr>
              <a:spLocks noChangeArrowheads="1"/>
            </p:cNvSpPr>
            <p:nvPr/>
          </p:nvSpPr>
          <p:spPr bwMode="auto">
            <a:xfrm>
              <a:off x="2592" y="314"/>
              <a:ext cx="2880" cy="366"/>
            </a:xfrm>
            <a:prstGeom prst="rect">
              <a:avLst/>
            </a:prstGeom>
            <a:noFill/>
            <a:ln w="9525" algn="ctr">
              <a:solidFill>
                <a:schemeClr val="accent6"/>
              </a:solidFill>
              <a:miter lim="800000"/>
              <a:headEnd/>
              <a:tailEnd/>
            </a:ln>
            <a:effectLst/>
          </p:spPr>
          <p:txBody>
            <a:bodyPr anchor="ctr"/>
            <a:lstStyle/>
            <a:p>
              <a:pPr defTabSz="410276" fontAlgn="base">
                <a:spcBef>
                  <a:spcPct val="0"/>
                </a:spcBef>
                <a:spcAft>
                  <a:spcPct val="0"/>
                </a:spcAft>
                <a:defRPr/>
              </a:pPr>
              <a:endParaRPr lang="en-US" sz="1401" b="1" i="1">
                <a:solidFill>
                  <a:srgbClr val="00338D"/>
                </a:solidFill>
                <a:latin typeface="Arial" panose="020B0604020202020204" pitchFamily="34" charset="0"/>
                <a:cs typeface="Arial" panose="020B0604020202020204" pitchFamily="34" charset="0"/>
              </a:endParaRPr>
            </a:p>
          </p:txBody>
        </p:sp>
        <p:sp>
          <p:nvSpPr>
            <p:cNvPr id="10" name="Rectangle 9"/>
            <p:cNvSpPr>
              <a:spLocks noChangeArrowheads="1"/>
            </p:cNvSpPr>
            <p:nvPr/>
          </p:nvSpPr>
          <p:spPr bwMode="auto">
            <a:xfrm>
              <a:off x="2016" y="308"/>
              <a:ext cx="432" cy="366"/>
            </a:xfrm>
            <a:prstGeom prst="rect">
              <a:avLst/>
            </a:prstGeom>
            <a:noFill/>
            <a:ln w="9525">
              <a:solidFill>
                <a:schemeClr val="accent6"/>
              </a:solidFill>
              <a:miter lim="800000"/>
              <a:headEnd/>
              <a:tailEnd/>
            </a:ln>
            <a:effectLst/>
          </p:spPr>
          <p:txBody>
            <a:bodyPr wrap="none" anchor="ctr"/>
            <a:lstStyle/>
            <a:p>
              <a:pPr algn="ctr" defTabSz="410276" fontAlgn="base">
                <a:spcBef>
                  <a:spcPct val="0"/>
                </a:spcBef>
                <a:spcAft>
                  <a:spcPct val="0"/>
                </a:spcAft>
                <a:defRPr/>
              </a:pPr>
              <a:r>
                <a:rPr lang="en-US" sz="1401" i="1">
                  <a:solidFill>
                    <a:srgbClr val="00338D"/>
                  </a:solidFill>
                  <a:latin typeface="Arial" panose="020B0604020202020204" pitchFamily="34" charset="0"/>
                  <a:cs typeface="Arial" panose="020B0604020202020204" pitchFamily="34" charset="0"/>
                </a:rPr>
                <a:t>1</a:t>
              </a:r>
            </a:p>
          </p:txBody>
        </p:sp>
      </p:grpSp>
      <p:grpSp>
        <p:nvGrpSpPr>
          <p:cNvPr id="11" name="Group 25"/>
          <p:cNvGrpSpPr>
            <a:grpSpLocks/>
          </p:cNvGrpSpPr>
          <p:nvPr/>
        </p:nvGrpSpPr>
        <p:grpSpPr bwMode="auto">
          <a:xfrm>
            <a:off x="859252" y="2262923"/>
            <a:ext cx="5413248" cy="441324"/>
            <a:chOff x="2016" y="864"/>
            <a:chExt cx="3504" cy="476"/>
          </a:xfrm>
        </p:grpSpPr>
        <p:sp>
          <p:nvSpPr>
            <p:cNvPr id="12" name="Rectangle 7"/>
            <p:cNvSpPr>
              <a:spLocks noChangeArrowheads="1"/>
            </p:cNvSpPr>
            <p:nvPr/>
          </p:nvSpPr>
          <p:spPr bwMode="auto">
            <a:xfrm>
              <a:off x="2592" y="864"/>
              <a:ext cx="2928" cy="476"/>
            </a:xfrm>
            <a:prstGeom prst="rect">
              <a:avLst/>
            </a:prstGeom>
            <a:noFill/>
            <a:ln w="9525" algn="ctr">
              <a:solidFill>
                <a:schemeClr val="accent6"/>
              </a:solidFill>
              <a:miter lim="800000"/>
              <a:headEnd/>
              <a:tailEnd/>
            </a:ln>
            <a:effectLst/>
          </p:spPr>
          <p:txBody>
            <a:bodyPr anchor="ctr"/>
            <a:lstStyle/>
            <a:p>
              <a:pPr defTabSz="410276" fontAlgn="base">
                <a:spcBef>
                  <a:spcPct val="0"/>
                </a:spcBef>
                <a:spcAft>
                  <a:spcPct val="0"/>
                </a:spcAft>
                <a:defRPr/>
              </a:pPr>
              <a:endParaRPr lang="en-US" sz="1401" b="1" i="1">
                <a:solidFill>
                  <a:srgbClr val="00338D"/>
                </a:solidFill>
                <a:latin typeface="Arial" panose="020B0604020202020204" pitchFamily="34" charset="0"/>
                <a:cs typeface="Arial" panose="020B0604020202020204" pitchFamily="34" charset="0"/>
              </a:endParaRPr>
            </a:p>
          </p:txBody>
        </p:sp>
        <p:sp>
          <p:nvSpPr>
            <p:cNvPr id="13" name="Rectangle 12"/>
            <p:cNvSpPr>
              <a:spLocks noChangeArrowheads="1"/>
            </p:cNvSpPr>
            <p:nvPr/>
          </p:nvSpPr>
          <p:spPr bwMode="auto">
            <a:xfrm>
              <a:off x="2016" y="864"/>
              <a:ext cx="432" cy="476"/>
            </a:xfrm>
            <a:prstGeom prst="rect">
              <a:avLst/>
            </a:prstGeom>
            <a:noFill/>
            <a:ln w="9525">
              <a:solidFill>
                <a:schemeClr val="accent6"/>
              </a:solidFill>
              <a:miter lim="800000"/>
              <a:headEnd/>
              <a:tailEnd/>
            </a:ln>
            <a:effectLst/>
          </p:spPr>
          <p:txBody>
            <a:bodyPr wrap="none" anchor="ctr"/>
            <a:lstStyle/>
            <a:p>
              <a:pPr algn="ctr" defTabSz="410276" fontAlgn="base">
                <a:spcBef>
                  <a:spcPct val="0"/>
                </a:spcBef>
                <a:spcAft>
                  <a:spcPct val="0"/>
                </a:spcAft>
                <a:defRPr/>
              </a:pPr>
              <a:endParaRPr lang="en-US" sz="1401" i="1">
                <a:solidFill>
                  <a:srgbClr val="00338D"/>
                </a:solidFill>
                <a:latin typeface="Arial" panose="020B0604020202020204" pitchFamily="34" charset="0"/>
                <a:cs typeface="Arial" panose="020B0604020202020204" pitchFamily="34" charset="0"/>
              </a:endParaRPr>
            </a:p>
          </p:txBody>
        </p:sp>
      </p:grpSp>
      <p:sp>
        <p:nvSpPr>
          <p:cNvPr id="14" name="Rectangle 13"/>
          <p:cNvSpPr/>
          <p:nvPr/>
        </p:nvSpPr>
        <p:spPr>
          <a:xfrm>
            <a:off x="1783242" y="1691309"/>
            <a:ext cx="2392001" cy="307905"/>
          </a:xfrm>
          <a:prstGeom prst="rect">
            <a:avLst/>
          </a:prstGeom>
        </p:spPr>
        <p:txBody>
          <a:bodyPr wrap="none">
            <a:spAutoFit/>
          </a:bodyPr>
          <a:lstStyle/>
          <a:p>
            <a:pPr defTabSz="410276">
              <a:defRPr/>
            </a:pPr>
            <a:r>
              <a:rPr lang="en-US" sz="1401" b="1" i="1">
                <a:solidFill>
                  <a:srgbClr val="00338D"/>
                </a:solidFill>
                <a:latin typeface="Arial" panose="020B0604020202020204" pitchFamily="34" charset="0"/>
                <a:cs typeface="Arial" panose="020B0604020202020204" pitchFamily="34" charset="0"/>
              </a:rPr>
              <a:t>Overview of Observations</a:t>
            </a:r>
          </a:p>
        </p:txBody>
      </p:sp>
      <p:sp>
        <p:nvSpPr>
          <p:cNvPr id="15" name="Rectangle 14"/>
          <p:cNvSpPr/>
          <p:nvPr/>
        </p:nvSpPr>
        <p:spPr>
          <a:xfrm>
            <a:off x="1737657" y="2329695"/>
            <a:ext cx="2759089" cy="307905"/>
          </a:xfrm>
          <a:prstGeom prst="rect">
            <a:avLst/>
          </a:prstGeom>
        </p:spPr>
        <p:txBody>
          <a:bodyPr wrap="none">
            <a:spAutoFit/>
          </a:bodyPr>
          <a:lstStyle/>
          <a:p>
            <a:pPr defTabSz="410276">
              <a:defRPr/>
            </a:pPr>
            <a:r>
              <a:rPr lang="en-US" sz="1401" b="1" i="1">
                <a:solidFill>
                  <a:srgbClr val="00338D"/>
                </a:solidFill>
                <a:latin typeface="Arial" panose="020B0604020202020204" pitchFamily="34" charset="0"/>
                <a:cs typeface="Arial" panose="020B0604020202020204" pitchFamily="34" charset="0"/>
              </a:rPr>
              <a:t>Issues and Recommendations</a:t>
            </a:r>
          </a:p>
        </p:txBody>
      </p:sp>
      <p:sp>
        <p:nvSpPr>
          <p:cNvPr id="16" name="Rectangle 15"/>
          <p:cNvSpPr/>
          <p:nvPr/>
        </p:nvSpPr>
        <p:spPr>
          <a:xfrm>
            <a:off x="1050922" y="2319949"/>
            <a:ext cx="284052" cy="307905"/>
          </a:xfrm>
          <a:prstGeom prst="rect">
            <a:avLst/>
          </a:prstGeom>
        </p:spPr>
        <p:txBody>
          <a:bodyPr wrap="none">
            <a:spAutoFit/>
          </a:bodyPr>
          <a:lstStyle/>
          <a:p>
            <a:pPr algn="ctr" defTabSz="410276" fontAlgn="base">
              <a:spcBef>
                <a:spcPct val="0"/>
              </a:spcBef>
              <a:spcAft>
                <a:spcPct val="0"/>
              </a:spcAft>
              <a:defRPr/>
            </a:pPr>
            <a:r>
              <a:rPr lang="en-US" sz="1401" i="1">
                <a:solidFill>
                  <a:srgbClr val="00338D"/>
                </a:solidFill>
                <a:latin typeface="Arial" panose="020B0604020202020204" pitchFamily="34" charset="0"/>
                <a:cs typeface="Arial" panose="020B0604020202020204" pitchFamily="34" charset="0"/>
              </a:rPr>
              <a:t>2</a:t>
            </a:r>
          </a:p>
        </p:txBody>
      </p:sp>
      <p:sp>
        <p:nvSpPr>
          <p:cNvPr id="3" name="Title 2">
            <a:extLst>
              <a:ext uri="{FF2B5EF4-FFF2-40B4-BE49-F238E27FC236}">
                <a16:creationId xmlns:a16="http://schemas.microsoft.com/office/drawing/2014/main" id="{C400B59F-87A4-4E05-9101-F03ECA45B6EE}"/>
              </a:ext>
            </a:extLst>
          </p:cNvPr>
          <p:cNvSpPr>
            <a:spLocks noGrp="1"/>
          </p:cNvSpPr>
          <p:nvPr>
            <p:ph type="title"/>
          </p:nvPr>
        </p:nvSpPr>
        <p:spPr/>
        <p:txBody>
          <a:bodyPr/>
          <a:lstStyle/>
          <a:p>
            <a:r>
              <a:rPr lang="en-US"/>
              <a:t>Contents</a:t>
            </a:r>
          </a:p>
        </p:txBody>
      </p:sp>
    </p:spTree>
    <p:extLst>
      <p:ext uri="{BB962C8B-B14F-4D97-AF65-F5344CB8AC3E}">
        <p14:creationId xmlns:p14="http://schemas.microsoft.com/office/powerpoint/2010/main" val="2186402185"/>
      </p:ext>
    </p:extLst>
  </p:cSld>
  <p:clrMapOvr>
    <a:overrideClrMapping bg1="lt1" tx1="dk1" bg2="lt2" tx2="dk2" accent1="accent1" accent2="accent2" accent3="accent3" accent4="accent4" accent5="accent5" accent6="accent6" hlink="hlink" folHlink="folHlink"/>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86C3A30-44D9-4D2C-9B3B-4679205335F2}"/>
              </a:ext>
            </a:extLst>
          </p:cNvPr>
          <p:cNvSpPr>
            <a:spLocks noGrp="1"/>
          </p:cNvSpPr>
          <p:nvPr>
            <p:ph type="ctrTitle"/>
          </p:nvPr>
        </p:nvSpPr>
        <p:spPr>
          <a:xfrm>
            <a:off x="1723509" y="1759353"/>
            <a:ext cx="9527587" cy="3510000"/>
          </a:xfrm>
        </p:spPr>
        <p:txBody>
          <a:bodyPr>
            <a:normAutofit/>
          </a:bodyPr>
          <a:lstStyle/>
          <a:p>
            <a:pPr>
              <a:lnSpc>
                <a:spcPct val="100000"/>
              </a:lnSpc>
            </a:pPr>
            <a:r>
              <a:rPr lang="en-US" sz="7200">
                <a:latin typeface="KPMG Extralight"/>
              </a:rPr>
              <a:t>Overview of Observations</a:t>
            </a:r>
          </a:p>
        </p:txBody>
      </p:sp>
    </p:spTree>
    <p:extLst>
      <p:ext uri="{BB962C8B-B14F-4D97-AF65-F5344CB8AC3E}">
        <p14:creationId xmlns:p14="http://schemas.microsoft.com/office/powerpoint/2010/main" val="335423664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399961-F78A-47EA-ADCA-8DE4BB4FF991}"/>
              </a:ext>
            </a:extLst>
          </p:cNvPr>
          <p:cNvSpPr>
            <a:spLocks noGrp="1"/>
          </p:cNvSpPr>
          <p:nvPr>
            <p:ph type="title"/>
          </p:nvPr>
        </p:nvSpPr>
        <p:spPr/>
        <p:txBody>
          <a:bodyPr/>
          <a:lstStyle/>
          <a:p>
            <a:r>
              <a:rPr lang="en-US"/>
              <a:t>Overview</a:t>
            </a:r>
          </a:p>
        </p:txBody>
      </p:sp>
      <p:graphicFrame>
        <p:nvGraphicFramePr>
          <p:cNvPr id="18" name="Table 17">
            <a:extLst>
              <a:ext uri="{FF2B5EF4-FFF2-40B4-BE49-F238E27FC236}">
                <a16:creationId xmlns:a16="http://schemas.microsoft.com/office/drawing/2014/main" id="{828253F1-C3E6-4F59-BDCA-AD87A4BFE8FD}"/>
              </a:ext>
            </a:extLst>
          </p:cNvPr>
          <p:cNvGraphicFramePr>
            <a:graphicFrameLocks noGrp="1"/>
          </p:cNvGraphicFramePr>
          <p:nvPr>
            <p:extLst>
              <p:ext uri="{D42A27DB-BD31-4B8C-83A1-F6EECF244321}">
                <p14:modId xmlns:p14="http://schemas.microsoft.com/office/powerpoint/2010/main" val="3765036198"/>
              </p:ext>
            </p:extLst>
          </p:nvPr>
        </p:nvGraphicFramePr>
        <p:xfrm>
          <a:off x="754442" y="1409478"/>
          <a:ext cx="10782961" cy="4236747"/>
        </p:xfrm>
        <a:graphic>
          <a:graphicData uri="http://schemas.openxmlformats.org/drawingml/2006/table">
            <a:tbl>
              <a:tblPr firstRow="1" bandRow="1">
                <a:tableStyleId>{5C22544A-7EE6-4342-B048-85BDC9FD1C3A}</a:tableStyleId>
              </a:tblPr>
              <a:tblGrid>
                <a:gridCol w="651988">
                  <a:extLst>
                    <a:ext uri="{9D8B030D-6E8A-4147-A177-3AD203B41FA5}">
                      <a16:colId xmlns:a16="http://schemas.microsoft.com/office/drawing/2014/main" val="3076180218"/>
                    </a:ext>
                  </a:extLst>
                </a:gridCol>
                <a:gridCol w="8975988">
                  <a:extLst>
                    <a:ext uri="{9D8B030D-6E8A-4147-A177-3AD203B41FA5}">
                      <a16:colId xmlns:a16="http://schemas.microsoft.com/office/drawing/2014/main" val="2585199557"/>
                    </a:ext>
                  </a:extLst>
                </a:gridCol>
                <a:gridCol w="384995">
                  <a:extLst>
                    <a:ext uri="{9D8B030D-6E8A-4147-A177-3AD203B41FA5}">
                      <a16:colId xmlns:a16="http://schemas.microsoft.com/office/drawing/2014/main" val="3839852720"/>
                    </a:ext>
                  </a:extLst>
                </a:gridCol>
                <a:gridCol w="384995">
                  <a:extLst>
                    <a:ext uri="{9D8B030D-6E8A-4147-A177-3AD203B41FA5}">
                      <a16:colId xmlns:a16="http://schemas.microsoft.com/office/drawing/2014/main" val="4077972965"/>
                    </a:ext>
                  </a:extLst>
                </a:gridCol>
                <a:gridCol w="384995">
                  <a:extLst>
                    <a:ext uri="{9D8B030D-6E8A-4147-A177-3AD203B41FA5}">
                      <a16:colId xmlns:a16="http://schemas.microsoft.com/office/drawing/2014/main" val="3567518428"/>
                    </a:ext>
                  </a:extLst>
                </a:gridCol>
              </a:tblGrid>
              <a:tr h="396243">
                <a:tc>
                  <a:txBody>
                    <a:bodyPr/>
                    <a:lstStyle/>
                    <a:p>
                      <a:r>
                        <a:rPr lang="en-US" sz="2000"/>
                        <a:t>SN</a:t>
                      </a:r>
                    </a:p>
                  </a:txBody>
                  <a:tcPr marT="45721" marB="45721" anchor="ctr"/>
                </a:tc>
                <a:tc>
                  <a:txBody>
                    <a:bodyPr/>
                    <a:lstStyle/>
                    <a:p>
                      <a:r>
                        <a:rPr lang="en-US" sz="2000"/>
                        <a:t>Particulars</a:t>
                      </a:r>
                    </a:p>
                  </a:txBody>
                  <a:tcPr marT="45721" marB="45721" anchor="ctr"/>
                </a:tc>
                <a:tc>
                  <a:txBody>
                    <a:bodyPr/>
                    <a:lstStyle/>
                    <a:p>
                      <a:pPr algn="ctr"/>
                      <a:r>
                        <a:rPr lang="en-US" sz="2000"/>
                        <a:t>H</a:t>
                      </a:r>
                    </a:p>
                  </a:txBody>
                  <a:tcPr marT="45721" marB="45721" anchor="ctr">
                    <a:solidFill>
                      <a:srgbClr val="FF0000"/>
                    </a:solidFill>
                  </a:tcPr>
                </a:tc>
                <a:tc>
                  <a:txBody>
                    <a:bodyPr/>
                    <a:lstStyle/>
                    <a:p>
                      <a:pPr algn="ctr"/>
                      <a:r>
                        <a:rPr lang="en-US" sz="2000">
                          <a:solidFill>
                            <a:sysClr val="windowText" lastClr="000000"/>
                          </a:solidFill>
                        </a:rPr>
                        <a:t>M</a:t>
                      </a:r>
                    </a:p>
                  </a:txBody>
                  <a:tcPr marT="45721" marB="45721" anchor="ctr">
                    <a:solidFill>
                      <a:srgbClr val="FFFF00"/>
                    </a:solidFill>
                  </a:tcPr>
                </a:tc>
                <a:tc>
                  <a:txBody>
                    <a:bodyPr/>
                    <a:lstStyle/>
                    <a:p>
                      <a:pPr algn="ctr"/>
                      <a:r>
                        <a:rPr lang="en-US" sz="2000"/>
                        <a:t>L</a:t>
                      </a:r>
                    </a:p>
                  </a:txBody>
                  <a:tcPr marT="45721" marB="45721" anchor="ctr">
                    <a:solidFill>
                      <a:srgbClr val="00CC00"/>
                    </a:solidFill>
                  </a:tcPr>
                </a:tc>
                <a:extLst>
                  <a:ext uri="{0D108BD9-81ED-4DB2-BD59-A6C34878D82A}">
                    <a16:rowId xmlns:a16="http://schemas.microsoft.com/office/drawing/2014/main" val="2528015849"/>
                  </a:ext>
                </a:extLst>
              </a:tr>
              <a:tr h="320041">
                <a:tc gridSpan="5">
                  <a:txBody>
                    <a:bodyPr/>
                    <a:lstStyle/>
                    <a:p>
                      <a:r>
                        <a:rPr lang="en-US" sz="1500" b="1">
                          <a:solidFill>
                            <a:schemeClr val="bg1"/>
                          </a:solidFill>
                          <a:latin typeface="+mn-lt"/>
                          <a:ea typeface="+mn-ea"/>
                          <a:cs typeface="+mn-cs"/>
                        </a:rPr>
                        <a:t>General Controls</a:t>
                      </a:r>
                    </a:p>
                  </a:txBody>
                  <a:tcPr marT="45721" marB="45721" anchor="ctr">
                    <a:lnB w="3175" cap="flat" cmpd="sng" algn="ctr">
                      <a:solidFill>
                        <a:schemeClr val="tx1"/>
                      </a:solidFill>
                      <a:prstDash val="solid"/>
                      <a:round/>
                      <a:headEnd type="none" w="med" len="med"/>
                      <a:tailEnd type="none" w="med" len="med"/>
                    </a:lnB>
                    <a:solidFill>
                      <a:srgbClr val="00338D"/>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787298632"/>
                  </a:ext>
                </a:extLst>
              </a:tr>
              <a:tr h="320041">
                <a:tc>
                  <a:txBody>
                    <a:bodyPr/>
                    <a:lstStyle/>
                    <a:p>
                      <a:r>
                        <a:rPr lang="en-US" sz="1500"/>
                        <a:t>GL..1</a:t>
                      </a:r>
                    </a:p>
                  </a:txBody>
                  <a:tcPr marT="45721" marB="45721"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r>
                        <a:rPr lang="en-US" sz="1500"/>
                        <a:t>XYZ</a:t>
                      </a:r>
                    </a:p>
                  </a:txBody>
                  <a:tcPr marT="45721" marB="45721"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B w="3175" cap="flat" cmpd="sng" algn="ctr">
                      <a:solidFill>
                        <a:schemeClr val="tx1"/>
                      </a:solidFill>
                      <a:prstDash val="solid"/>
                      <a:round/>
                      <a:headEnd type="none" w="med" len="med"/>
                      <a:tailEnd type="none" w="med" len="med"/>
                    </a:lnB>
                    <a:solidFill>
                      <a:schemeClr val="bg1"/>
                    </a:solidFill>
                  </a:tcPr>
                </a:tc>
                <a:tc>
                  <a:txBody>
                    <a:bodyPr/>
                    <a:lstStyle/>
                    <a:p>
                      <a:r>
                        <a:rPr lang="en-US" sz="1500">
                          <a:latin typeface="Webdings" panose="05030102010509060703" pitchFamily="18" charset="2"/>
                        </a:rPr>
                        <a:t>a</a:t>
                      </a:r>
                    </a:p>
                  </a:txBody>
                  <a:tcPr marT="45721" marB="45721"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B w="3175" cap="flat" cmpd="sng" algn="ctr">
                      <a:solidFill>
                        <a:schemeClr val="tx1"/>
                      </a:solidFill>
                      <a:prstDash val="solid"/>
                      <a:round/>
                      <a:headEnd type="none" w="med" len="med"/>
                      <a:tailEnd type="none" w="med" len="med"/>
                    </a:lnB>
                    <a:solidFill>
                      <a:schemeClr val="bg1"/>
                    </a:solidFill>
                  </a:tcPr>
                </a:tc>
                <a:tc>
                  <a:txBody>
                    <a:bodyPr/>
                    <a:lstStyle/>
                    <a:p>
                      <a:endParaRPr lang="en-US" sz="1500">
                        <a:latin typeface="Webdings" panose="05030102010509060703" pitchFamily="18" charset="2"/>
                      </a:endParaRPr>
                    </a:p>
                  </a:txBody>
                  <a:tcPr marT="45721" marB="45721"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B w="3175" cap="flat" cmpd="sng" algn="ctr">
                      <a:solidFill>
                        <a:schemeClr val="tx1"/>
                      </a:solidFill>
                      <a:prstDash val="solid"/>
                      <a:round/>
                      <a:headEnd type="none" w="med" len="med"/>
                      <a:tailEnd type="none" w="med" len="med"/>
                    </a:lnB>
                    <a:solidFill>
                      <a:schemeClr val="bg1"/>
                    </a:solidFill>
                  </a:tcPr>
                </a:tc>
                <a:tc>
                  <a:txBody>
                    <a:bodyPr/>
                    <a:lstStyle/>
                    <a:p>
                      <a:endParaRPr lang="en-US" sz="1500">
                        <a:latin typeface="Webdings" panose="05030102010509060703" pitchFamily="18" charset="2"/>
                      </a:endParaRPr>
                    </a:p>
                  </a:txBody>
                  <a:tcPr marT="45721" marB="45721"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32293913"/>
                  </a:ext>
                </a:extLst>
              </a:tr>
              <a:tr h="320041">
                <a:tc>
                  <a:txBody>
                    <a:bodyPr/>
                    <a:lstStyle/>
                    <a:p>
                      <a:r>
                        <a:rPr lang="en-US" sz="1500"/>
                        <a:t>GL..2</a:t>
                      </a:r>
                    </a:p>
                  </a:txBody>
                  <a:tcPr marT="45721" marB="45721"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r>
                        <a:rPr lang="en-US" sz="1500"/>
                        <a:t>XYZ</a:t>
                      </a:r>
                    </a:p>
                  </a:txBody>
                  <a:tcPr marT="45721" marB="45721"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r>
                        <a:rPr lang="en-US" sz="1500">
                          <a:latin typeface="Webdings" panose="05030102010509060703" pitchFamily="18" charset="2"/>
                        </a:rPr>
                        <a:t>a</a:t>
                      </a:r>
                    </a:p>
                  </a:txBody>
                  <a:tcPr marT="45721" marB="45721"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500">
                        <a:latin typeface="Webdings" panose="05030102010509060703" pitchFamily="18" charset="2"/>
                      </a:endParaRPr>
                    </a:p>
                  </a:txBody>
                  <a:tcPr marT="45721" marB="45721"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500">
                        <a:latin typeface="Webdings" panose="05030102010509060703" pitchFamily="18" charset="2"/>
                      </a:endParaRPr>
                    </a:p>
                  </a:txBody>
                  <a:tcPr marT="45721" marB="45721"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660999829"/>
                  </a:ext>
                </a:extLst>
              </a:tr>
              <a:tr h="320041">
                <a:tc>
                  <a:txBody>
                    <a:bodyPr/>
                    <a:lstStyle/>
                    <a:p>
                      <a:r>
                        <a:rPr lang="en-US" sz="1500"/>
                        <a:t>GL..3</a:t>
                      </a:r>
                    </a:p>
                  </a:txBody>
                  <a:tcPr marT="45721" marB="45721"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r>
                        <a:rPr kumimoji="0" lang="en-US" sz="1500" b="0" i="0" u="none" strike="noStrike" kern="0" cap="none" spc="0" normalizeH="0" baseline="0" noProof="0">
                          <a:ln>
                            <a:noFill/>
                          </a:ln>
                          <a:effectLst/>
                          <a:uLnTx/>
                          <a:uFillTx/>
                          <a:latin typeface="Calibri"/>
                          <a:ea typeface="+mn-ea"/>
                          <a:cs typeface="+mn-cs"/>
                        </a:rPr>
                        <a:t>XYZ</a:t>
                      </a:r>
                      <a:endParaRPr lang="en-US" sz="1500"/>
                    </a:p>
                  </a:txBody>
                  <a:tcPr marT="45721" marB="45721"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r>
                        <a:rPr lang="en-US" sz="1500">
                          <a:latin typeface="Webdings" panose="05030102010509060703" pitchFamily="18" charset="2"/>
                        </a:rPr>
                        <a:t>a</a:t>
                      </a:r>
                    </a:p>
                  </a:txBody>
                  <a:tcPr marT="45721" marB="45721"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500">
                        <a:latin typeface="Webdings" panose="05030102010509060703" pitchFamily="18" charset="2"/>
                      </a:endParaRPr>
                    </a:p>
                  </a:txBody>
                  <a:tcPr marT="45721" marB="45721"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500">
                        <a:latin typeface="Webdings" panose="05030102010509060703" pitchFamily="18" charset="2"/>
                      </a:endParaRPr>
                    </a:p>
                  </a:txBody>
                  <a:tcPr marT="45721" marB="45721"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7252457"/>
                  </a:ext>
                </a:extLst>
              </a:tr>
              <a:tr h="320041">
                <a:tc>
                  <a:txBody>
                    <a:bodyPr/>
                    <a:lstStyle/>
                    <a:p>
                      <a:r>
                        <a:rPr lang="en-US" sz="1500"/>
                        <a:t>GL..4</a:t>
                      </a:r>
                    </a:p>
                  </a:txBody>
                  <a:tcPr marT="45721" marB="45721"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r>
                        <a:rPr kumimoji="0" lang="en-US" sz="1500" b="0" i="0" u="none" strike="noStrike" kern="0" cap="none" spc="0" normalizeH="0" baseline="0" noProof="0">
                          <a:ln>
                            <a:noFill/>
                          </a:ln>
                          <a:solidFill>
                            <a:prstClr val="black"/>
                          </a:solidFill>
                          <a:effectLst/>
                          <a:uLnTx/>
                          <a:uFillTx/>
                          <a:latin typeface="Calibri"/>
                          <a:ea typeface="+mn-ea"/>
                          <a:cs typeface="+mn-cs"/>
                        </a:rPr>
                        <a:t>XYZ</a:t>
                      </a:r>
                      <a:endParaRPr lang="en-US" sz="1500"/>
                    </a:p>
                  </a:txBody>
                  <a:tcPr marT="45721" marB="45721"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500">
                          <a:solidFill>
                            <a:schemeClr val="tx1"/>
                          </a:solidFill>
                          <a:latin typeface="Webdings" panose="05030102010509060703" pitchFamily="18" charset="2"/>
                        </a:rPr>
                        <a:t>a</a:t>
                      </a:r>
                    </a:p>
                  </a:txBody>
                  <a:tcPr marT="45721" marB="45721"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500">
                        <a:latin typeface="Webdings" panose="05030102010509060703" pitchFamily="18" charset="2"/>
                      </a:endParaRPr>
                    </a:p>
                  </a:txBody>
                  <a:tcPr marT="45721" marB="45721"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500">
                        <a:latin typeface="Webdings" panose="05030102010509060703" pitchFamily="18" charset="2"/>
                      </a:endParaRPr>
                    </a:p>
                  </a:txBody>
                  <a:tcPr marT="45721" marB="45721"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02206321"/>
                  </a:ext>
                </a:extLst>
              </a:tr>
              <a:tr h="320041">
                <a:tc gridSpan="5">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500" b="1" i="0" u="none" strike="noStrike" kern="0" cap="none" spc="0" normalizeH="0" baseline="0" noProof="0">
                          <a:ln>
                            <a:noFill/>
                          </a:ln>
                          <a:solidFill>
                            <a:prstClr val="white"/>
                          </a:solidFill>
                          <a:effectLst/>
                          <a:uLnTx/>
                          <a:uFillTx/>
                          <a:latin typeface="Calibri"/>
                          <a:ea typeface="+mn-ea"/>
                          <a:cs typeface="+mn-cs"/>
                        </a:rPr>
                        <a:t>  Overall control environment</a:t>
                      </a:r>
                    </a:p>
                  </a:txBody>
                  <a:tcPr marL="9525" marR="9525" marT="45721" marB="45721" anchor="ctr">
                    <a:lnL w="3175"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00338D"/>
                    </a:solidFill>
                  </a:tcPr>
                </a:tc>
                <a:tc hMerge="1">
                  <a:txBody>
                    <a:bodyPr/>
                    <a:lstStyle/>
                    <a:p>
                      <a:endParaRPr lang="en-US"/>
                    </a:p>
                  </a:txBody>
                  <a:tcPr>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hMerge="1">
                  <a:txBody>
                    <a:bodyPr/>
                    <a:lstStyle/>
                    <a:p>
                      <a:endParaRPr lang="en-US"/>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hMerge="1">
                  <a:txBody>
                    <a:bodyPr/>
                    <a:lstStyle/>
                    <a:p>
                      <a:endParaRPr lang="en-US"/>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hMerge="1">
                  <a:txBody>
                    <a:bodyPr/>
                    <a:lstStyle/>
                    <a:p>
                      <a:endParaRPr lang="en-US"/>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555890160"/>
                  </a:ext>
                </a:extLst>
              </a:tr>
              <a:tr h="320041">
                <a:tc>
                  <a:txBody>
                    <a:bodyPr/>
                    <a:lstStyle/>
                    <a:p>
                      <a:r>
                        <a:rPr lang="en-US" sz="1500"/>
                        <a:t>OCE.1</a:t>
                      </a:r>
                    </a:p>
                  </a:txBody>
                  <a:tcPr marT="45721" marB="45721"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l" fontAlgn="ctr"/>
                      <a:r>
                        <a:rPr kumimoji="0" lang="en-US" sz="1500" b="0" i="0" u="none" strike="noStrike" kern="0" cap="none" spc="0" normalizeH="0" baseline="0" noProof="0">
                          <a:ln>
                            <a:noFill/>
                          </a:ln>
                          <a:effectLst/>
                          <a:uLnTx/>
                          <a:uFillTx/>
                          <a:latin typeface="Calibri"/>
                          <a:ea typeface="+mn-ea"/>
                          <a:cs typeface="+mn-cs"/>
                        </a:rPr>
                        <a:t>XYZ</a:t>
                      </a:r>
                      <a:endParaRPr lang="en-US" sz="1500" b="0" i="0" u="none" strike="noStrike">
                        <a:effectLst/>
                        <a:latin typeface="Calibri" panose="020F0502020204030204" pitchFamily="34" charset="0"/>
                      </a:endParaRPr>
                    </a:p>
                  </a:txBody>
                  <a:tcPr marT="45721" marB="45721"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r>
                        <a:rPr lang="en-US" sz="1500">
                          <a:latin typeface="Webdings" panose="05030102010509060703" pitchFamily="18" charset="2"/>
                        </a:rPr>
                        <a:t>a</a:t>
                      </a:r>
                    </a:p>
                  </a:txBody>
                  <a:tcPr marT="45721" marB="45721"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500">
                        <a:latin typeface="Webdings" panose="05030102010509060703" pitchFamily="18" charset="2"/>
                      </a:endParaRPr>
                    </a:p>
                  </a:txBody>
                  <a:tcPr marT="45721" marB="45721"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500">
                        <a:latin typeface="Webdings" panose="05030102010509060703" pitchFamily="18" charset="2"/>
                      </a:endParaRPr>
                    </a:p>
                  </a:txBody>
                  <a:tcPr marT="45721" marB="45721"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700224746"/>
                  </a:ext>
                </a:extLst>
              </a:tr>
              <a:tr h="320041">
                <a:tc>
                  <a:txBody>
                    <a:bodyPr/>
                    <a:lstStyle/>
                    <a:p>
                      <a:r>
                        <a:rPr lang="en-US" sz="1500"/>
                        <a:t>OCE.2</a:t>
                      </a:r>
                    </a:p>
                  </a:txBody>
                  <a:tcPr marT="45721" marB="45721"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l" fontAlgn="ctr"/>
                      <a:r>
                        <a:rPr kumimoji="0" lang="en-US" sz="1500" b="0" i="0" u="none" strike="noStrike" kern="0" cap="none" spc="0" normalizeH="0" baseline="0" noProof="0">
                          <a:ln>
                            <a:noFill/>
                          </a:ln>
                          <a:effectLst/>
                          <a:uLnTx/>
                          <a:uFillTx/>
                          <a:latin typeface="Calibri"/>
                          <a:ea typeface="+mn-ea"/>
                          <a:cs typeface="+mn-cs"/>
                        </a:rPr>
                        <a:t>XYZ</a:t>
                      </a:r>
                      <a:endParaRPr lang="en-US" sz="1500" b="0" i="0" u="none" strike="noStrike">
                        <a:effectLst/>
                        <a:latin typeface="Calibri" panose="020F0502020204030204" pitchFamily="34" charset="0"/>
                      </a:endParaRPr>
                    </a:p>
                  </a:txBody>
                  <a:tcPr marT="45721" marB="45721"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r>
                        <a:rPr lang="en-US" sz="1500">
                          <a:latin typeface="Webdings" panose="05030102010509060703" pitchFamily="18" charset="2"/>
                        </a:rPr>
                        <a:t>a</a:t>
                      </a:r>
                    </a:p>
                  </a:txBody>
                  <a:tcPr marT="45721" marB="45721"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500">
                        <a:latin typeface="Webdings" panose="05030102010509060703" pitchFamily="18" charset="2"/>
                      </a:endParaRPr>
                    </a:p>
                  </a:txBody>
                  <a:tcPr marT="45721" marB="45721"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500">
                        <a:latin typeface="Webdings" panose="05030102010509060703" pitchFamily="18" charset="2"/>
                      </a:endParaRPr>
                    </a:p>
                  </a:txBody>
                  <a:tcPr marT="45721" marB="45721"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966653791"/>
                  </a:ext>
                </a:extLst>
              </a:tr>
              <a:tr h="320041">
                <a:tc>
                  <a:txBody>
                    <a:bodyPr/>
                    <a:lstStyle/>
                    <a:p>
                      <a:r>
                        <a:rPr lang="en-US" sz="1500"/>
                        <a:t>OCE.3</a:t>
                      </a:r>
                    </a:p>
                  </a:txBody>
                  <a:tcPr marT="45721" marB="45721"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l" fontAlgn="ctr"/>
                      <a:r>
                        <a:rPr kumimoji="0" lang="en-US" sz="1500" b="0" i="0" u="none" strike="noStrike" kern="0" cap="none" spc="0" normalizeH="0" baseline="0" noProof="0">
                          <a:ln>
                            <a:noFill/>
                          </a:ln>
                          <a:solidFill>
                            <a:prstClr val="black"/>
                          </a:solidFill>
                          <a:effectLst/>
                          <a:uLnTx/>
                          <a:uFillTx/>
                          <a:latin typeface="Calibri"/>
                          <a:ea typeface="+mn-ea"/>
                          <a:cs typeface="+mn-cs"/>
                        </a:rPr>
                        <a:t>XYZ</a:t>
                      </a:r>
                      <a:endParaRPr lang="en-US" sz="1500" b="0" i="0" u="none" strike="noStrike">
                        <a:solidFill>
                          <a:srgbClr val="000000"/>
                        </a:solidFill>
                        <a:effectLst/>
                        <a:latin typeface="Calibri" panose="020F0502020204030204" pitchFamily="34" charset="0"/>
                      </a:endParaRPr>
                    </a:p>
                  </a:txBody>
                  <a:tcPr marT="45721" marB="45721"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500">
                        <a:latin typeface="Webdings" panose="05030102010509060703" pitchFamily="18" charset="2"/>
                      </a:endParaRPr>
                    </a:p>
                  </a:txBody>
                  <a:tcPr marT="45721" marB="45721"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r>
                        <a:rPr lang="en-US" sz="1500">
                          <a:latin typeface="Webdings" panose="05030102010509060703" pitchFamily="18" charset="2"/>
                        </a:rPr>
                        <a:t>a</a:t>
                      </a:r>
                    </a:p>
                  </a:txBody>
                  <a:tcPr marT="45721" marB="45721"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500">
                        <a:latin typeface="Webdings" panose="05030102010509060703" pitchFamily="18" charset="2"/>
                      </a:endParaRPr>
                    </a:p>
                  </a:txBody>
                  <a:tcPr marT="45721" marB="45721"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370211752"/>
                  </a:ext>
                </a:extLst>
              </a:tr>
              <a:tr h="320041">
                <a:tc gridSpan="5">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500" b="1" i="0" u="none" strike="noStrike" kern="0" cap="none" spc="0" normalizeH="0" baseline="0" noProof="0">
                          <a:ln>
                            <a:noFill/>
                          </a:ln>
                          <a:solidFill>
                            <a:schemeClr val="bg1"/>
                          </a:solidFill>
                          <a:effectLst/>
                          <a:uLnTx/>
                          <a:uFillTx/>
                          <a:latin typeface="Calibri"/>
                          <a:ea typeface="+mn-ea"/>
                          <a:cs typeface="+mn-cs"/>
                        </a:rPr>
                        <a:t>  Financial closing and reporting process</a:t>
                      </a:r>
                    </a:p>
                  </a:txBody>
                  <a:tcPr marL="9525" marR="9525" marT="45721" marB="45721" anchor="ctr">
                    <a:lnL w="3175"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00338D"/>
                    </a:solidFill>
                  </a:tcPr>
                </a:tc>
                <a:tc hMerge="1">
                  <a:txBody>
                    <a:bodyPr/>
                    <a:lstStyle/>
                    <a:p>
                      <a:endParaRPr lang="en-US"/>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hMerge="1">
                  <a:txBody>
                    <a:bodyPr/>
                    <a:lstStyle/>
                    <a:p>
                      <a:endParaRPr lang="en-US"/>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hMerge="1">
                  <a:txBody>
                    <a:bodyPr/>
                    <a:lstStyle/>
                    <a:p>
                      <a:endParaRPr lang="en-US"/>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hMerge="1">
                  <a:txBody>
                    <a:bodyPr/>
                    <a:lstStyle/>
                    <a:p>
                      <a:endParaRPr lang="en-US"/>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353166947"/>
                  </a:ext>
                </a:extLst>
              </a:tr>
              <a:tr h="320041">
                <a:tc>
                  <a:txBody>
                    <a:bodyPr/>
                    <a:lstStyle/>
                    <a:p>
                      <a:r>
                        <a:rPr lang="en-US" sz="1500">
                          <a:solidFill>
                            <a:schemeClr val="tx1"/>
                          </a:solidFill>
                          <a:latin typeface="+mn-lt"/>
                          <a:ea typeface="+mn-ea"/>
                          <a:cs typeface="+mn-cs"/>
                        </a:rPr>
                        <a:t>FCR.1</a:t>
                      </a:r>
                    </a:p>
                  </a:txBody>
                  <a:tcPr marT="45721" marB="45721"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r>
                        <a:rPr kumimoji="0" lang="en-US" sz="1500" b="0" i="0" u="none" strike="noStrike" kern="0" cap="none" spc="0" normalizeH="0" baseline="0" noProof="0">
                          <a:ln>
                            <a:noFill/>
                          </a:ln>
                          <a:effectLst/>
                          <a:uLnTx/>
                          <a:uFillTx/>
                          <a:latin typeface="Calibri"/>
                          <a:ea typeface="+mn-ea"/>
                          <a:cs typeface="+mn-cs"/>
                        </a:rPr>
                        <a:t>XYZ</a:t>
                      </a:r>
                      <a:endParaRPr lang="en-US" sz="1500">
                        <a:latin typeface="+mn-lt"/>
                        <a:ea typeface="+mn-ea"/>
                        <a:cs typeface="+mn-cs"/>
                      </a:endParaRPr>
                    </a:p>
                  </a:txBody>
                  <a:tcPr marT="45721" marB="45721"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500">
                          <a:solidFill>
                            <a:schemeClr val="tx1"/>
                          </a:solidFill>
                          <a:latin typeface="Webdings" panose="05030102010509060703" pitchFamily="18" charset="2"/>
                          <a:ea typeface="+mn-ea"/>
                          <a:cs typeface="+mn-cs"/>
                        </a:rPr>
                        <a:t>a</a:t>
                      </a:r>
                      <a:endParaRPr lang="en-US" sz="1500">
                        <a:solidFill>
                          <a:schemeClr val="tx1"/>
                        </a:solidFill>
                        <a:latin typeface="+mn-lt"/>
                        <a:ea typeface="+mn-ea"/>
                        <a:cs typeface="+mn-cs"/>
                      </a:endParaRPr>
                    </a:p>
                  </a:txBody>
                  <a:tcPr marT="45721" marB="45721"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500">
                        <a:solidFill>
                          <a:schemeClr val="tx1"/>
                        </a:solidFill>
                        <a:latin typeface="+mn-lt"/>
                        <a:ea typeface="+mn-ea"/>
                        <a:cs typeface="+mn-cs"/>
                      </a:endParaRPr>
                    </a:p>
                  </a:txBody>
                  <a:tcPr marT="45721" marB="45721"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500">
                        <a:solidFill>
                          <a:schemeClr val="tx1"/>
                        </a:solidFill>
                        <a:latin typeface="Webdings" panose="05030102010509060703" pitchFamily="18" charset="2"/>
                        <a:ea typeface="+mn-ea"/>
                        <a:cs typeface="+mn-cs"/>
                      </a:endParaRPr>
                    </a:p>
                  </a:txBody>
                  <a:tcPr marT="45721" marB="45721"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5727278"/>
                  </a:ext>
                </a:extLst>
              </a:tr>
              <a:tr h="320041">
                <a:tc>
                  <a:txBody>
                    <a:bodyPr/>
                    <a:lstStyle/>
                    <a:p>
                      <a:r>
                        <a:rPr lang="en-US" sz="1500">
                          <a:solidFill>
                            <a:schemeClr val="tx1"/>
                          </a:solidFill>
                          <a:latin typeface="+mn-lt"/>
                          <a:ea typeface="+mn-ea"/>
                          <a:cs typeface="+mn-cs"/>
                        </a:rPr>
                        <a:t>FCR.2</a:t>
                      </a:r>
                    </a:p>
                  </a:txBody>
                  <a:tcPr marT="45721" marB="45721"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r>
                        <a:rPr kumimoji="0" lang="en-US" sz="1500" b="0" i="0" u="none" strike="noStrike" kern="0" cap="none" spc="0" normalizeH="0" baseline="0" noProof="0">
                          <a:ln>
                            <a:noFill/>
                          </a:ln>
                          <a:solidFill>
                            <a:prstClr val="black"/>
                          </a:solidFill>
                          <a:effectLst/>
                          <a:uLnTx/>
                          <a:uFillTx/>
                          <a:latin typeface="Calibri"/>
                          <a:ea typeface="+mn-ea"/>
                          <a:cs typeface="+mn-cs"/>
                        </a:rPr>
                        <a:t>XYZ</a:t>
                      </a:r>
                      <a:endParaRPr lang="en-US" sz="1500">
                        <a:solidFill>
                          <a:schemeClr val="tx1"/>
                        </a:solidFill>
                        <a:latin typeface="+mn-lt"/>
                        <a:ea typeface="+mn-ea"/>
                        <a:cs typeface="+mn-cs"/>
                      </a:endParaRPr>
                    </a:p>
                  </a:txBody>
                  <a:tcPr marT="45721" marB="45721"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500">
                        <a:solidFill>
                          <a:schemeClr val="tx1"/>
                        </a:solidFill>
                        <a:latin typeface="+mn-lt"/>
                        <a:ea typeface="+mn-ea"/>
                        <a:cs typeface="+mn-cs"/>
                      </a:endParaRPr>
                    </a:p>
                  </a:txBody>
                  <a:tcPr marT="45721" marB="45721"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r>
                        <a:rPr lang="en-US" sz="1500">
                          <a:solidFill>
                            <a:schemeClr val="tx1"/>
                          </a:solidFill>
                          <a:latin typeface="Webdings" panose="05030102010509060703" pitchFamily="18" charset="2"/>
                          <a:ea typeface="+mn-ea"/>
                          <a:cs typeface="+mn-cs"/>
                        </a:rPr>
                        <a:t>a</a:t>
                      </a:r>
                      <a:endParaRPr lang="en-US" sz="1500">
                        <a:solidFill>
                          <a:schemeClr val="tx1"/>
                        </a:solidFill>
                        <a:latin typeface="+mn-lt"/>
                        <a:ea typeface="+mn-ea"/>
                        <a:cs typeface="+mn-cs"/>
                      </a:endParaRPr>
                    </a:p>
                  </a:txBody>
                  <a:tcPr marT="45721" marB="45721"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500">
                        <a:solidFill>
                          <a:schemeClr val="tx1"/>
                        </a:solidFill>
                        <a:latin typeface="Webdings" panose="05030102010509060703" pitchFamily="18" charset="2"/>
                        <a:ea typeface="+mn-ea"/>
                        <a:cs typeface="+mn-cs"/>
                      </a:endParaRPr>
                    </a:p>
                  </a:txBody>
                  <a:tcPr marT="45721" marB="45721"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512714044"/>
                  </a:ext>
                </a:extLst>
              </a:tr>
            </a:tbl>
          </a:graphicData>
        </a:graphic>
      </p:graphicFrame>
    </p:spTree>
    <p:extLst>
      <p:ext uri="{BB962C8B-B14F-4D97-AF65-F5344CB8AC3E}">
        <p14:creationId xmlns:p14="http://schemas.microsoft.com/office/powerpoint/2010/main" val="1572139140"/>
      </p:ext>
    </p:extLst>
  </p:cSld>
  <p:clrMapOvr>
    <a:overrideClrMapping bg1="lt1" tx1="dk1" bg2="lt2" tx2="dk2" accent1="accent1" accent2="accent2" accent3="accent3" accent4="accent4" accent5="accent5" accent6="accent6" hlink="hlink" folHlink="folHlink"/>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86C3A30-44D9-4D2C-9B3B-4679205335F2}"/>
              </a:ext>
            </a:extLst>
          </p:cNvPr>
          <p:cNvSpPr>
            <a:spLocks noGrp="1"/>
          </p:cNvSpPr>
          <p:nvPr>
            <p:ph type="ctrTitle"/>
          </p:nvPr>
        </p:nvSpPr>
        <p:spPr>
          <a:xfrm>
            <a:off x="1723511" y="1759355"/>
            <a:ext cx="9758956" cy="3510000"/>
          </a:xfrm>
        </p:spPr>
        <p:txBody>
          <a:bodyPr>
            <a:normAutofit/>
          </a:bodyPr>
          <a:lstStyle/>
          <a:p>
            <a:pPr>
              <a:lnSpc>
                <a:spcPct val="100000"/>
              </a:lnSpc>
            </a:pPr>
            <a:r>
              <a:rPr lang="en-US" sz="7200">
                <a:latin typeface="KPMG Extralight"/>
              </a:rPr>
              <a:t>General Controls</a:t>
            </a:r>
          </a:p>
        </p:txBody>
      </p:sp>
    </p:spTree>
    <p:extLst>
      <p:ext uri="{BB962C8B-B14F-4D97-AF65-F5344CB8AC3E}">
        <p14:creationId xmlns:p14="http://schemas.microsoft.com/office/powerpoint/2010/main" val="126527400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p:cNvCxnSpPr>
            <a:cxnSpLocks/>
          </p:cNvCxnSpPr>
          <p:nvPr/>
        </p:nvCxnSpPr>
        <p:spPr>
          <a:xfrm flipH="1">
            <a:off x="6073547" y="966700"/>
            <a:ext cx="851" cy="5486400"/>
          </a:xfrm>
          <a:prstGeom prst="line">
            <a:avLst/>
          </a:prstGeom>
          <a:ln w="19050">
            <a:solidFill>
              <a:schemeClr val="accent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1" name="Round Diagonal Corner Rectangle 8"/>
          <p:cNvSpPr/>
          <p:nvPr/>
        </p:nvSpPr>
        <p:spPr>
          <a:xfrm>
            <a:off x="90747" y="966700"/>
            <a:ext cx="5822067" cy="328944"/>
          </a:xfrm>
          <a:prstGeom prst="round2DiagRect">
            <a:avLst/>
          </a:prstGeom>
          <a:solidFill>
            <a:schemeClr val="accent1"/>
          </a:solidFill>
          <a:ln>
            <a:solidFill>
              <a:schemeClr val="accent1"/>
            </a:solidFill>
          </a:ln>
        </p:spPr>
        <p:style>
          <a:lnRef idx="2">
            <a:schemeClr val="accent6"/>
          </a:lnRef>
          <a:fillRef idx="1">
            <a:schemeClr val="lt1"/>
          </a:fillRef>
          <a:effectRef idx="0">
            <a:schemeClr val="accent6"/>
          </a:effectRef>
          <a:fontRef idx="minor">
            <a:schemeClr val="dk1"/>
          </a:fontRef>
        </p:style>
        <p:txBody>
          <a:bodyPr anchor="ctr"/>
          <a:lstStyle/>
          <a:p>
            <a:pPr defTabSz="914321">
              <a:defRPr/>
            </a:pPr>
            <a:r>
              <a:rPr lang="en-US" sz="1801" b="1">
                <a:solidFill>
                  <a:prstClr val="white"/>
                </a:solidFill>
                <a:ea typeface="ヒラギノ角ゴ Pro W3" pitchFamily="1" charset="-128"/>
                <a:cs typeface="Arial" pitchFamily="34" charset="0"/>
              </a:rPr>
              <a:t>Observations</a:t>
            </a:r>
            <a:endParaRPr lang="en-US" sz="1801" b="1">
              <a:solidFill>
                <a:prstClr val="white"/>
              </a:solidFill>
              <a:latin typeface="Trebuchet MS"/>
              <a:ea typeface="ヒラギノ角ゴ Pro W3" pitchFamily="1" charset="-128"/>
              <a:cs typeface="Arial" pitchFamily="34" charset="0"/>
            </a:endParaRPr>
          </a:p>
        </p:txBody>
      </p:sp>
      <p:sp>
        <p:nvSpPr>
          <p:cNvPr id="12" name="Round Diagonal Corner Rectangle 8"/>
          <p:cNvSpPr/>
          <p:nvPr/>
        </p:nvSpPr>
        <p:spPr>
          <a:xfrm>
            <a:off x="6194771" y="3044615"/>
            <a:ext cx="5822067" cy="328944"/>
          </a:xfrm>
          <a:prstGeom prst="round2DiagRect">
            <a:avLst/>
          </a:prstGeom>
          <a:solidFill>
            <a:schemeClr val="accent1"/>
          </a:solidFill>
          <a:ln>
            <a:solidFill>
              <a:schemeClr val="accent1"/>
            </a:solidFill>
          </a:ln>
        </p:spPr>
        <p:style>
          <a:lnRef idx="2">
            <a:schemeClr val="accent6"/>
          </a:lnRef>
          <a:fillRef idx="1">
            <a:schemeClr val="lt1"/>
          </a:fillRef>
          <a:effectRef idx="0">
            <a:schemeClr val="accent6"/>
          </a:effectRef>
          <a:fontRef idx="minor">
            <a:schemeClr val="dk1"/>
          </a:fontRef>
        </p:style>
        <p:txBody>
          <a:bodyPr anchor="ctr"/>
          <a:lstStyle/>
          <a:p>
            <a:pPr defTabSz="914321">
              <a:defRPr/>
            </a:pPr>
            <a:r>
              <a:rPr lang="en-US" sz="1801" b="1">
                <a:solidFill>
                  <a:prstClr val="white"/>
                </a:solidFill>
                <a:latin typeface="Trebuchet MS"/>
                <a:ea typeface="ヒラギノ角ゴ Pro W3" pitchFamily="1" charset="-128"/>
                <a:cs typeface="Arial" pitchFamily="34" charset="0"/>
              </a:rPr>
              <a:t>Recommendation	</a:t>
            </a:r>
          </a:p>
        </p:txBody>
      </p:sp>
      <p:sp>
        <p:nvSpPr>
          <p:cNvPr id="13" name="Round Diagonal Corner Rectangle 8"/>
          <p:cNvSpPr/>
          <p:nvPr/>
        </p:nvSpPr>
        <p:spPr>
          <a:xfrm>
            <a:off x="6182608" y="1997196"/>
            <a:ext cx="5822067" cy="328944"/>
          </a:xfrm>
          <a:prstGeom prst="round2DiagRect">
            <a:avLst/>
          </a:prstGeom>
          <a:solidFill>
            <a:schemeClr val="accent1"/>
          </a:solidFill>
          <a:ln>
            <a:solidFill>
              <a:schemeClr val="accent1"/>
            </a:solidFill>
          </a:ln>
        </p:spPr>
        <p:style>
          <a:lnRef idx="2">
            <a:schemeClr val="accent6"/>
          </a:lnRef>
          <a:fillRef idx="1">
            <a:schemeClr val="lt1"/>
          </a:fillRef>
          <a:effectRef idx="0">
            <a:schemeClr val="accent6"/>
          </a:effectRef>
          <a:fontRef idx="minor">
            <a:schemeClr val="dk1"/>
          </a:fontRef>
        </p:style>
        <p:txBody>
          <a:bodyPr anchor="ctr"/>
          <a:lstStyle/>
          <a:p>
            <a:pPr defTabSz="914321">
              <a:defRPr/>
            </a:pPr>
            <a:r>
              <a:rPr lang="en-US" sz="1801" b="1">
                <a:solidFill>
                  <a:prstClr val="white"/>
                </a:solidFill>
                <a:ea typeface="ヒラギノ角ゴ Pro W3" pitchFamily="1" charset="-128"/>
                <a:cs typeface="Arial" pitchFamily="34" charset="0"/>
              </a:rPr>
              <a:t>Root Cause</a:t>
            </a:r>
          </a:p>
        </p:txBody>
      </p:sp>
      <p:sp>
        <p:nvSpPr>
          <p:cNvPr id="21" name="Round Diagonal Corner Rectangle 8"/>
          <p:cNvSpPr/>
          <p:nvPr/>
        </p:nvSpPr>
        <p:spPr>
          <a:xfrm>
            <a:off x="6199717" y="964620"/>
            <a:ext cx="5822067" cy="328944"/>
          </a:xfrm>
          <a:prstGeom prst="round2DiagRect">
            <a:avLst/>
          </a:prstGeom>
          <a:solidFill>
            <a:schemeClr val="accent1"/>
          </a:solidFill>
          <a:ln>
            <a:solidFill>
              <a:schemeClr val="accent1"/>
            </a:solidFill>
          </a:ln>
        </p:spPr>
        <p:style>
          <a:lnRef idx="2">
            <a:schemeClr val="accent6"/>
          </a:lnRef>
          <a:fillRef idx="1">
            <a:schemeClr val="lt1"/>
          </a:fillRef>
          <a:effectRef idx="0">
            <a:schemeClr val="accent6"/>
          </a:effectRef>
          <a:fontRef idx="minor">
            <a:schemeClr val="dk1"/>
          </a:fontRef>
        </p:style>
        <p:txBody>
          <a:bodyPr anchor="ctr"/>
          <a:lstStyle/>
          <a:p>
            <a:pPr defTabSz="914321">
              <a:defRPr/>
            </a:pPr>
            <a:r>
              <a:rPr lang="en-US" sz="1801" b="1">
                <a:solidFill>
                  <a:prstClr val="white"/>
                </a:solidFill>
                <a:ea typeface="ヒラギノ角ゴ Pro W3" pitchFamily="1" charset="-128"/>
                <a:cs typeface="Arial" pitchFamily="34" charset="0"/>
              </a:rPr>
              <a:t>Risk</a:t>
            </a:r>
          </a:p>
        </p:txBody>
      </p:sp>
      <p:sp>
        <p:nvSpPr>
          <p:cNvPr id="24" name="Round Diagonal Corner Rectangle 8">
            <a:extLst>
              <a:ext uri="{FF2B5EF4-FFF2-40B4-BE49-F238E27FC236}">
                <a16:creationId xmlns:a16="http://schemas.microsoft.com/office/drawing/2014/main" id="{EF37252F-D34E-4282-BDEF-F499133C791C}"/>
              </a:ext>
            </a:extLst>
          </p:cNvPr>
          <p:cNvSpPr/>
          <p:nvPr/>
        </p:nvSpPr>
        <p:spPr>
          <a:xfrm>
            <a:off x="6205404" y="3931500"/>
            <a:ext cx="5822067" cy="328944"/>
          </a:xfrm>
          <a:prstGeom prst="round2DiagRect">
            <a:avLst/>
          </a:prstGeom>
          <a:solidFill>
            <a:schemeClr val="accent1"/>
          </a:solidFill>
          <a:ln>
            <a:solidFill>
              <a:schemeClr val="accent1"/>
            </a:solidFill>
          </a:ln>
        </p:spPr>
        <p:style>
          <a:lnRef idx="2">
            <a:schemeClr val="accent6"/>
          </a:lnRef>
          <a:fillRef idx="1">
            <a:schemeClr val="lt1"/>
          </a:fillRef>
          <a:effectRef idx="0">
            <a:schemeClr val="accent6"/>
          </a:effectRef>
          <a:fontRef idx="minor">
            <a:schemeClr val="dk1"/>
          </a:fontRef>
        </p:style>
        <p:txBody>
          <a:bodyPr anchor="ctr"/>
          <a:lstStyle/>
          <a:p>
            <a:pPr defTabSz="914321">
              <a:defRPr/>
            </a:pPr>
            <a:r>
              <a:rPr lang="en-US" sz="1801" b="1">
                <a:solidFill>
                  <a:prstClr val="white"/>
                </a:solidFill>
                <a:latin typeface="Trebuchet MS"/>
                <a:ea typeface="ヒラギノ角ゴ Pro W3" pitchFamily="1" charset="-128"/>
                <a:cs typeface="Arial" pitchFamily="34" charset="0"/>
              </a:rPr>
              <a:t>Management Comments</a:t>
            </a:r>
          </a:p>
        </p:txBody>
      </p:sp>
      <p:sp>
        <p:nvSpPr>
          <p:cNvPr id="6" name="Rectangle 5">
            <a:extLst>
              <a:ext uri="{FF2B5EF4-FFF2-40B4-BE49-F238E27FC236}">
                <a16:creationId xmlns:a16="http://schemas.microsoft.com/office/drawing/2014/main" id="{E3486141-5268-420C-BCBE-65DFAE56958B}"/>
              </a:ext>
            </a:extLst>
          </p:cNvPr>
          <p:cNvSpPr/>
          <p:nvPr/>
        </p:nvSpPr>
        <p:spPr>
          <a:xfrm>
            <a:off x="6118462" y="4290383"/>
            <a:ext cx="5860047" cy="888256"/>
          </a:xfrm>
          <a:prstGeom prst="rect">
            <a:avLst/>
          </a:prstGeom>
        </p:spPr>
        <p:txBody>
          <a:bodyPr wrap="square">
            <a:spAutoFit/>
          </a:bodyPr>
          <a:lstStyle/>
          <a:p>
            <a:pPr marL="171442" indent="-171442" algn="just" defTabSz="228593" eaLnBrk="0" fontAlgn="base" hangingPunct="0">
              <a:lnSpc>
                <a:spcPct val="80000"/>
              </a:lnSpc>
              <a:spcBef>
                <a:spcPct val="0"/>
              </a:spcBef>
              <a:spcAft>
                <a:spcPts val="300"/>
              </a:spcAft>
              <a:buSzPct val="125000"/>
              <a:buFont typeface="Arial" panose="020B0604020202020204" pitchFamily="34" charset="0"/>
              <a:buChar char="•"/>
              <a:defRPr/>
            </a:pPr>
            <a:r>
              <a:rPr lang="en-US" sz="1100" err="1">
                <a:latin typeface="Calibri" panose="020F0502020204030204" pitchFamily="34" charset="0"/>
                <a:cs typeface="Calibri" panose="020F0502020204030204" pitchFamily="34" charset="0"/>
              </a:rPr>
              <a:t>Xyz</a:t>
            </a:r>
            <a:endParaRPr lang="en-US" sz="1100">
              <a:latin typeface="Calibri" panose="020F0502020204030204" pitchFamily="34" charset="0"/>
              <a:cs typeface="Calibri" panose="020F0502020204030204" pitchFamily="34" charset="0"/>
            </a:endParaRPr>
          </a:p>
          <a:p>
            <a:pPr marL="171442" indent="-171442" algn="just" defTabSz="228593" eaLnBrk="0" fontAlgn="base" hangingPunct="0">
              <a:lnSpc>
                <a:spcPct val="80000"/>
              </a:lnSpc>
              <a:spcBef>
                <a:spcPct val="0"/>
              </a:spcBef>
              <a:spcAft>
                <a:spcPts val="300"/>
              </a:spcAft>
              <a:buSzPct val="125000"/>
              <a:buFont typeface="Arial" panose="020B0604020202020204" pitchFamily="34" charset="0"/>
              <a:buChar char="•"/>
              <a:defRPr/>
            </a:pPr>
            <a:endParaRPr lang="en-US" sz="1100">
              <a:latin typeface="Calibri" panose="020F0502020204030204" pitchFamily="34" charset="0"/>
              <a:cs typeface="Calibri" panose="020F0502020204030204" pitchFamily="34" charset="0"/>
            </a:endParaRPr>
          </a:p>
          <a:p>
            <a:pPr algn="just" defTabSz="228593" eaLnBrk="0" fontAlgn="base" hangingPunct="0">
              <a:lnSpc>
                <a:spcPct val="80000"/>
              </a:lnSpc>
              <a:spcBef>
                <a:spcPct val="0"/>
              </a:spcBef>
              <a:spcAft>
                <a:spcPts val="300"/>
              </a:spcAft>
              <a:buSzPct val="125000"/>
              <a:defRPr/>
            </a:pPr>
            <a:r>
              <a:rPr lang="en-US" sz="1100" b="1">
                <a:latin typeface="Calibri" panose="020F0502020204030204" pitchFamily="34" charset="0"/>
                <a:cs typeface="Calibri" panose="020F0502020204030204" pitchFamily="34" charset="0"/>
              </a:rPr>
              <a:t>Person Responsible: Mr.______ , Executive Director</a:t>
            </a:r>
          </a:p>
          <a:p>
            <a:pPr algn="just" defTabSz="228593" eaLnBrk="0" fontAlgn="base" hangingPunct="0">
              <a:lnSpc>
                <a:spcPct val="80000"/>
              </a:lnSpc>
              <a:spcBef>
                <a:spcPct val="0"/>
              </a:spcBef>
              <a:spcAft>
                <a:spcPts val="300"/>
              </a:spcAft>
              <a:buSzPct val="125000"/>
              <a:defRPr/>
            </a:pPr>
            <a:r>
              <a:rPr lang="en-US" sz="1100" b="1">
                <a:latin typeface="Calibri" panose="020F0502020204030204" pitchFamily="34" charset="0"/>
                <a:cs typeface="Calibri" panose="020F0502020204030204" pitchFamily="34" charset="0"/>
              </a:rPr>
              <a:t>Target Date : ROA implemented; Code of conduct is Under implementation. Will be completed by March 2020</a:t>
            </a:r>
          </a:p>
        </p:txBody>
      </p:sp>
      <p:sp>
        <p:nvSpPr>
          <p:cNvPr id="14" name="TextBox 13">
            <a:extLst>
              <a:ext uri="{FF2B5EF4-FFF2-40B4-BE49-F238E27FC236}">
                <a16:creationId xmlns:a16="http://schemas.microsoft.com/office/drawing/2014/main" id="{3357FA21-9531-4077-87DA-D07604F33F91}"/>
              </a:ext>
            </a:extLst>
          </p:cNvPr>
          <p:cNvSpPr txBox="1"/>
          <p:nvPr/>
        </p:nvSpPr>
        <p:spPr>
          <a:xfrm>
            <a:off x="90747" y="1291522"/>
            <a:ext cx="5822068" cy="788421"/>
          </a:xfrm>
          <a:prstGeom prst="rect">
            <a:avLst/>
          </a:prstGeom>
          <a:noFill/>
        </p:spPr>
        <p:txBody>
          <a:bodyPr wrap="square" rtlCol="0">
            <a:spAutoFit/>
          </a:bodyPr>
          <a:lstStyle/>
          <a:p>
            <a:pPr algn="just">
              <a:lnSpc>
                <a:spcPct val="125000"/>
              </a:lnSpc>
              <a:spcAft>
                <a:spcPts val="300"/>
              </a:spcAft>
              <a:buSzPct val="80000"/>
              <a:defRPr/>
            </a:pPr>
            <a:r>
              <a:rPr lang="en-US" altLang="en-US" sz="1100" kern="0" err="1">
                <a:latin typeface="Calibri" panose="020F0502020204030204" pitchFamily="34" charset="0"/>
                <a:cs typeface="Calibri" panose="020F0502020204030204" pitchFamily="34" charset="0"/>
              </a:rPr>
              <a:t>xyz</a:t>
            </a:r>
            <a:endParaRPr lang="en-US" altLang="en-US" sz="1100" kern="0">
              <a:latin typeface="Calibri" panose="020F0502020204030204" pitchFamily="34" charset="0"/>
              <a:cs typeface="Calibri" panose="020F0502020204030204" pitchFamily="34" charset="0"/>
            </a:endParaRPr>
          </a:p>
          <a:p>
            <a:pPr algn="just">
              <a:lnSpc>
                <a:spcPct val="125000"/>
              </a:lnSpc>
              <a:spcAft>
                <a:spcPts val="300"/>
              </a:spcAft>
              <a:buSzPct val="80000"/>
              <a:defRPr/>
            </a:pPr>
            <a:endParaRPr lang="en-US" altLang="en-US" sz="1100" kern="0">
              <a:latin typeface="Calibri" panose="020F0502020204030204" pitchFamily="34" charset="0"/>
              <a:cs typeface="Calibri" panose="020F0502020204030204" pitchFamily="34" charset="0"/>
            </a:endParaRPr>
          </a:p>
          <a:p>
            <a:pPr algn="just">
              <a:lnSpc>
                <a:spcPct val="125000"/>
              </a:lnSpc>
              <a:spcAft>
                <a:spcPts val="300"/>
              </a:spcAft>
              <a:buSzPct val="80000"/>
              <a:defRPr/>
            </a:pPr>
            <a:endParaRPr lang="en-US" altLang="en-US" sz="1100" kern="0">
              <a:latin typeface="Calibri" panose="020F0502020204030204" pitchFamily="34" charset="0"/>
              <a:cs typeface="Calibri" panose="020F0502020204030204" pitchFamily="34" charset="0"/>
            </a:endParaRPr>
          </a:p>
        </p:txBody>
      </p:sp>
      <p:sp>
        <p:nvSpPr>
          <p:cNvPr id="15" name="TextBox 14">
            <a:extLst>
              <a:ext uri="{FF2B5EF4-FFF2-40B4-BE49-F238E27FC236}">
                <a16:creationId xmlns:a16="http://schemas.microsoft.com/office/drawing/2014/main" id="{79E52E2F-B264-4B95-B00E-847DCF74C8F0}"/>
              </a:ext>
            </a:extLst>
          </p:cNvPr>
          <p:cNvSpPr txBox="1"/>
          <p:nvPr/>
        </p:nvSpPr>
        <p:spPr>
          <a:xfrm>
            <a:off x="6160997" y="1312775"/>
            <a:ext cx="5800457" cy="231154"/>
          </a:xfrm>
          <a:prstGeom prst="rect">
            <a:avLst/>
          </a:prstGeom>
          <a:noFill/>
        </p:spPr>
        <p:txBody>
          <a:bodyPr wrap="square" rtlCol="0">
            <a:spAutoFit/>
          </a:bodyPr>
          <a:lstStyle/>
          <a:p>
            <a:pPr marL="171442" indent="-171442" algn="just" defTabSz="228593" eaLnBrk="0" fontAlgn="base" hangingPunct="0">
              <a:lnSpc>
                <a:spcPct val="80000"/>
              </a:lnSpc>
              <a:spcBef>
                <a:spcPct val="0"/>
              </a:spcBef>
              <a:spcAft>
                <a:spcPts val="300"/>
              </a:spcAft>
              <a:buSzPct val="125000"/>
              <a:buFont typeface="Arial" panose="020B0604020202020204" pitchFamily="34" charset="0"/>
              <a:buChar char="•"/>
              <a:defRPr/>
            </a:pPr>
            <a:r>
              <a:rPr lang="en-US" sz="1100" err="1">
                <a:latin typeface="Calibri" panose="020F0502020204030204" pitchFamily="34" charset="0"/>
                <a:cs typeface="Calibri" panose="020F0502020204030204" pitchFamily="34" charset="0"/>
              </a:rPr>
              <a:t>xyz</a:t>
            </a:r>
            <a:r>
              <a:rPr lang="en-US" sz="1100">
                <a:latin typeface="Calibri" panose="020F0502020204030204" pitchFamily="34" charset="0"/>
                <a:cs typeface="Calibri" panose="020F0502020204030204" pitchFamily="34" charset="0"/>
              </a:rPr>
              <a:t>.</a:t>
            </a:r>
          </a:p>
        </p:txBody>
      </p:sp>
      <p:sp>
        <p:nvSpPr>
          <p:cNvPr id="18" name="TextBox 17">
            <a:extLst>
              <a:ext uri="{FF2B5EF4-FFF2-40B4-BE49-F238E27FC236}">
                <a16:creationId xmlns:a16="http://schemas.microsoft.com/office/drawing/2014/main" id="{8F873DAE-6592-4101-86B2-FA798C81F94B}"/>
              </a:ext>
            </a:extLst>
          </p:cNvPr>
          <p:cNvSpPr txBox="1"/>
          <p:nvPr/>
        </p:nvSpPr>
        <p:spPr>
          <a:xfrm>
            <a:off x="6163681" y="2384832"/>
            <a:ext cx="5800457" cy="578941"/>
          </a:xfrm>
          <a:prstGeom prst="rect">
            <a:avLst/>
          </a:prstGeom>
          <a:noFill/>
        </p:spPr>
        <p:txBody>
          <a:bodyPr wrap="square" rtlCol="0">
            <a:spAutoFit/>
          </a:bodyPr>
          <a:lstStyle/>
          <a:p>
            <a:pPr marL="171442" indent="-171442" algn="just" defTabSz="228593" eaLnBrk="0" fontAlgn="base" hangingPunct="0">
              <a:lnSpc>
                <a:spcPct val="80000"/>
              </a:lnSpc>
              <a:spcBef>
                <a:spcPct val="0"/>
              </a:spcBef>
              <a:spcAft>
                <a:spcPts val="300"/>
              </a:spcAft>
              <a:buSzPct val="125000"/>
              <a:buFont typeface="Arial" panose="020B0604020202020204" pitchFamily="34" charset="0"/>
              <a:buChar char="•"/>
              <a:defRPr/>
            </a:pPr>
            <a:r>
              <a:rPr lang="en-US" sz="1100" err="1">
                <a:latin typeface="Calibri" panose="020F0502020204030204" pitchFamily="34" charset="0"/>
                <a:cs typeface="Calibri" panose="020F0502020204030204" pitchFamily="34" charset="0"/>
              </a:rPr>
              <a:t>xyz</a:t>
            </a:r>
            <a:endParaRPr lang="en-US" sz="1100">
              <a:latin typeface="Calibri" panose="020F0502020204030204" pitchFamily="34" charset="0"/>
              <a:cs typeface="Calibri" panose="020F0502020204030204" pitchFamily="34" charset="0"/>
            </a:endParaRPr>
          </a:p>
          <a:p>
            <a:pPr marL="171442" indent="-171442" algn="just" defTabSz="228593" eaLnBrk="0" fontAlgn="base" hangingPunct="0">
              <a:lnSpc>
                <a:spcPct val="80000"/>
              </a:lnSpc>
              <a:spcBef>
                <a:spcPct val="0"/>
              </a:spcBef>
              <a:spcAft>
                <a:spcPts val="300"/>
              </a:spcAft>
              <a:buSzPct val="125000"/>
              <a:buFont typeface="Arial" panose="020B0604020202020204" pitchFamily="34" charset="0"/>
              <a:buChar char="•"/>
              <a:defRPr/>
            </a:pPr>
            <a:endParaRPr lang="en-US" sz="1100">
              <a:latin typeface="Calibri" panose="020F0502020204030204" pitchFamily="34" charset="0"/>
              <a:cs typeface="Calibri" panose="020F0502020204030204" pitchFamily="34" charset="0"/>
            </a:endParaRPr>
          </a:p>
          <a:p>
            <a:pPr marL="171442" indent="-171442" algn="just" defTabSz="228593" eaLnBrk="0" fontAlgn="base" hangingPunct="0">
              <a:lnSpc>
                <a:spcPct val="80000"/>
              </a:lnSpc>
              <a:spcBef>
                <a:spcPct val="0"/>
              </a:spcBef>
              <a:spcAft>
                <a:spcPts val="300"/>
              </a:spcAft>
              <a:buSzPct val="125000"/>
              <a:buFont typeface="Arial" panose="020B0604020202020204" pitchFamily="34" charset="0"/>
              <a:buChar char="•"/>
              <a:defRPr/>
            </a:pPr>
            <a:endParaRPr lang="en-US" sz="1100">
              <a:latin typeface="Calibri" panose="020F0502020204030204" pitchFamily="34" charset="0"/>
              <a:cs typeface="Calibri" panose="020F0502020204030204" pitchFamily="34" charset="0"/>
            </a:endParaRPr>
          </a:p>
        </p:txBody>
      </p:sp>
      <p:sp>
        <p:nvSpPr>
          <p:cNvPr id="20" name="TextBox 19">
            <a:extLst>
              <a:ext uri="{FF2B5EF4-FFF2-40B4-BE49-F238E27FC236}">
                <a16:creationId xmlns:a16="http://schemas.microsoft.com/office/drawing/2014/main" id="{33FE0B98-CD60-4FDE-9DED-7965DD5E38C0}"/>
              </a:ext>
            </a:extLst>
          </p:cNvPr>
          <p:cNvSpPr txBox="1"/>
          <p:nvPr/>
        </p:nvSpPr>
        <p:spPr>
          <a:xfrm>
            <a:off x="6178058" y="3399029"/>
            <a:ext cx="5800457" cy="231154"/>
          </a:xfrm>
          <a:prstGeom prst="rect">
            <a:avLst/>
          </a:prstGeom>
          <a:noFill/>
        </p:spPr>
        <p:txBody>
          <a:bodyPr wrap="square" rtlCol="0">
            <a:spAutoFit/>
          </a:bodyPr>
          <a:lstStyle/>
          <a:p>
            <a:pPr marL="171442" indent="-171442" algn="just" defTabSz="228593" eaLnBrk="0" fontAlgn="base" hangingPunct="0">
              <a:lnSpc>
                <a:spcPct val="80000"/>
              </a:lnSpc>
              <a:spcBef>
                <a:spcPct val="0"/>
              </a:spcBef>
              <a:spcAft>
                <a:spcPts val="300"/>
              </a:spcAft>
              <a:buSzPct val="125000"/>
              <a:buFont typeface="Arial" panose="020B0604020202020204" pitchFamily="34" charset="0"/>
              <a:buChar char="•"/>
              <a:defRPr/>
            </a:pPr>
            <a:r>
              <a:rPr lang="en-US" sz="1100" err="1">
                <a:latin typeface="Calibri" panose="020F0502020204030204" pitchFamily="34" charset="0"/>
                <a:cs typeface="Calibri" panose="020F0502020204030204" pitchFamily="34" charset="0"/>
              </a:rPr>
              <a:t>xyz</a:t>
            </a:r>
            <a:endParaRPr lang="en-US" sz="1100">
              <a:latin typeface="Calibri" panose="020F0502020204030204" pitchFamily="34" charset="0"/>
              <a:cs typeface="Calibri" panose="020F0502020204030204" pitchFamily="34" charset="0"/>
            </a:endParaRPr>
          </a:p>
        </p:txBody>
      </p:sp>
      <p:graphicFrame>
        <p:nvGraphicFramePr>
          <p:cNvPr id="16" name="Table 15">
            <a:extLst>
              <a:ext uri="{FF2B5EF4-FFF2-40B4-BE49-F238E27FC236}">
                <a16:creationId xmlns:a16="http://schemas.microsoft.com/office/drawing/2014/main" id="{9B31FB0F-8521-4B4D-B9B9-1DF8625A014C}"/>
              </a:ext>
            </a:extLst>
          </p:cNvPr>
          <p:cNvGraphicFramePr>
            <a:graphicFrameLocks noGrp="1"/>
          </p:cNvGraphicFramePr>
          <p:nvPr/>
        </p:nvGraphicFramePr>
        <p:xfrm>
          <a:off x="10165894" y="89104"/>
          <a:ext cx="1965933" cy="640086"/>
        </p:xfrm>
        <a:graphic>
          <a:graphicData uri="http://schemas.openxmlformats.org/drawingml/2006/table">
            <a:tbl>
              <a:tblPr firstRow="1" bandRow="1">
                <a:tableStyleId>{5C22544A-7EE6-4342-B048-85BDC9FD1C3A}</a:tableStyleId>
              </a:tblPr>
              <a:tblGrid>
                <a:gridCol w="655311">
                  <a:extLst>
                    <a:ext uri="{9D8B030D-6E8A-4147-A177-3AD203B41FA5}">
                      <a16:colId xmlns:a16="http://schemas.microsoft.com/office/drawing/2014/main" val="3614696266"/>
                    </a:ext>
                  </a:extLst>
                </a:gridCol>
                <a:gridCol w="655311">
                  <a:extLst>
                    <a:ext uri="{9D8B030D-6E8A-4147-A177-3AD203B41FA5}">
                      <a16:colId xmlns:a16="http://schemas.microsoft.com/office/drawing/2014/main" val="3773797325"/>
                    </a:ext>
                  </a:extLst>
                </a:gridCol>
                <a:gridCol w="655311">
                  <a:extLst>
                    <a:ext uri="{9D8B030D-6E8A-4147-A177-3AD203B41FA5}">
                      <a16:colId xmlns:a16="http://schemas.microsoft.com/office/drawing/2014/main" val="1506891881"/>
                    </a:ext>
                  </a:extLst>
                </a:gridCol>
              </a:tblGrid>
              <a:tr h="320043">
                <a:tc gridSpan="3">
                  <a:txBody>
                    <a:bodyPr/>
                    <a:lstStyle/>
                    <a:p>
                      <a:pPr algn="ctr"/>
                      <a:r>
                        <a:rPr lang="en-US" sz="1500"/>
                        <a:t>Risk Rating</a:t>
                      </a:r>
                    </a:p>
                  </a:txBody>
                  <a:tcPr marT="45721" marB="45721">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endParaRPr lang="en-US"/>
                    </a:p>
                  </a:txBody>
                  <a:tcP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endParaRPr lang="en-US"/>
                    </a:p>
                  </a:txBody>
                  <a:tcP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268967539"/>
                  </a:ext>
                </a:extLst>
              </a:tr>
              <a:tr h="320043">
                <a:tc>
                  <a:txBody>
                    <a:bodyPr/>
                    <a:lstStyle/>
                    <a:p>
                      <a:pPr algn="ctr"/>
                      <a:r>
                        <a:rPr lang="en-US" sz="1500">
                          <a:latin typeface="Webdings" panose="05030102010509060703" pitchFamily="18" charset="2"/>
                        </a:rPr>
                        <a:t>a</a:t>
                      </a:r>
                    </a:p>
                  </a:txBody>
                  <a:tcPr marT="45721" marB="45721">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FF0000"/>
                    </a:solidFill>
                  </a:tcPr>
                </a:tc>
                <a:tc>
                  <a:txBody>
                    <a:bodyPr/>
                    <a:lstStyle/>
                    <a:p>
                      <a:pPr algn="ctr"/>
                      <a:endParaRPr lang="en-US" sz="1500" b="1">
                        <a:latin typeface="Webdings" panose="05030102010509060703" pitchFamily="18" charset="2"/>
                      </a:endParaRPr>
                    </a:p>
                  </a:txBody>
                  <a:tcPr marT="45721" marB="45721">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FFFF00"/>
                    </a:solidFill>
                  </a:tcPr>
                </a:tc>
                <a:tc>
                  <a:txBody>
                    <a:bodyPr/>
                    <a:lstStyle/>
                    <a:p>
                      <a:pPr algn="ctr"/>
                      <a:endParaRPr lang="en-US" sz="1500"/>
                    </a:p>
                  </a:txBody>
                  <a:tcPr marT="45721" marB="45721">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00CC00"/>
                    </a:solidFill>
                  </a:tcPr>
                </a:tc>
                <a:extLst>
                  <a:ext uri="{0D108BD9-81ED-4DB2-BD59-A6C34878D82A}">
                    <a16:rowId xmlns:a16="http://schemas.microsoft.com/office/drawing/2014/main" val="2471754734"/>
                  </a:ext>
                </a:extLst>
              </a:tr>
            </a:tbl>
          </a:graphicData>
        </a:graphic>
      </p:graphicFrame>
      <p:sp>
        <p:nvSpPr>
          <p:cNvPr id="17" name="Title 3">
            <a:extLst>
              <a:ext uri="{FF2B5EF4-FFF2-40B4-BE49-F238E27FC236}">
                <a16:creationId xmlns:a16="http://schemas.microsoft.com/office/drawing/2014/main" id="{62C57BED-59FA-49D7-99A4-A3B7082CF527}"/>
              </a:ext>
            </a:extLst>
          </p:cNvPr>
          <p:cNvSpPr>
            <a:spLocks noGrp="1"/>
          </p:cNvSpPr>
          <p:nvPr>
            <p:ph type="title"/>
          </p:nvPr>
        </p:nvSpPr>
        <p:spPr>
          <a:xfrm>
            <a:off x="530578" y="298007"/>
            <a:ext cx="10511719" cy="420566"/>
          </a:xfrm>
          <a:noFill/>
          <a:ln>
            <a:noFill/>
          </a:ln>
        </p:spPr>
        <p:txBody>
          <a:bodyPr vert="horz" wrap="square" lIns="91440" tIns="45721" rIns="91440" bIns="45721" numCol="1" rtlCol="0" anchor="b" anchorCtr="0" compatLnSpc="1">
            <a:prstTxWarp prst="textNoShape">
              <a:avLst/>
            </a:prstTxWarp>
            <a:spAutoFit/>
          </a:bodyPr>
          <a:lstStyle/>
          <a:p>
            <a:pPr lvl="3"/>
            <a:r>
              <a:rPr lang="en-US" sz="2133">
                <a:solidFill>
                  <a:schemeClr val="bg1"/>
                </a:solidFill>
              </a:rPr>
              <a:t>GL.1: Absence of policies and procedures and pending implementation of ROA</a:t>
            </a:r>
          </a:p>
        </p:txBody>
      </p:sp>
    </p:spTree>
    <p:extLst>
      <p:ext uri="{BB962C8B-B14F-4D97-AF65-F5344CB8AC3E}">
        <p14:creationId xmlns:p14="http://schemas.microsoft.com/office/powerpoint/2010/main" val="217085687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ext Placeholder 1"/>
          <p:cNvSpPr>
            <a:spLocks noGrp="1"/>
          </p:cNvSpPr>
          <p:nvPr>
            <p:ph type="body" sz="quarter" idx="11"/>
            <p:custDataLst>
              <p:tags r:id="rId2"/>
            </p:custDataLst>
          </p:nvPr>
        </p:nvSpPr>
        <p:spPr>
          <a:xfrm>
            <a:off x="2112003" y="4585837"/>
            <a:ext cx="9087284" cy="310633"/>
          </a:xfrm>
        </p:spPr>
        <p:txBody>
          <a:bodyPr/>
          <a:lstStyle/>
          <a:p>
            <a:r>
              <a:rPr lang="en-US"/>
              <a:t>© 2020 KPMG, an Indian Registered Partnership and a member firm of the KPMG network of independent member firms affiliated with KPMG International Cooperative (“KPMG International”), a Swiss entity. All rights reserved.</a:t>
            </a:r>
          </a:p>
        </p:txBody>
      </p:sp>
      <p:sp>
        <p:nvSpPr>
          <p:cNvPr id="3" name="Text Placeholder 2"/>
          <p:cNvSpPr>
            <a:spLocks noGrp="1"/>
          </p:cNvSpPr>
          <p:nvPr>
            <p:ph type="body" sz="quarter" idx="12"/>
          </p:nvPr>
        </p:nvSpPr>
        <p:spPr>
          <a:xfrm>
            <a:off x="2112005" y="5240557"/>
            <a:ext cx="7811467" cy="186855"/>
          </a:xfrm>
        </p:spPr>
        <p:txBody>
          <a:bodyPr/>
          <a:lstStyle/>
          <a:p>
            <a:r>
              <a:rPr lang="en-US" noProof="0"/>
              <a:t>The KPMG name and logo are registered trademarks or trademarks of KPMG International. </a:t>
            </a:r>
          </a:p>
        </p:txBody>
      </p:sp>
      <p:sp>
        <p:nvSpPr>
          <p:cNvPr id="4" name="Text Placeholder 3"/>
          <p:cNvSpPr>
            <a:spLocks noGrp="1"/>
          </p:cNvSpPr>
          <p:nvPr>
            <p:ph type="body" sz="quarter" idx="13"/>
          </p:nvPr>
        </p:nvSpPr>
        <p:spPr/>
        <p:txBody>
          <a:bodyPr/>
          <a:lstStyle/>
          <a:p>
            <a:r>
              <a:rPr lang="en-US" noProof="0"/>
              <a:t>The information contained herein is of a general nature and is not intended to address the circumstances of any particular individual or entity. Although we endeavor to provide accurate and timely information, there can be no guarantee that such information is accurate as of the date it is received or that it will continue to be accurate in the future. No one should act on such information without appropriate professional advice after a thorough examination of the particular situation.</a:t>
            </a:r>
          </a:p>
        </p:txBody>
      </p:sp>
      <p:sp>
        <p:nvSpPr>
          <p:cNvPr id="5" name="Text Placeholder 4"/>
          <p:cNvSpPr>
            <a:spLocks noGrp="1"/>
          </p:cNvSpPr>
          <p:nvPr>
            <p:ph type="body" sz="quarter" idx="14"/>
          </p:nvPr>
        </p:nvSpPr>
        <p:spPr/>
        <p:txBody>
          <a:bodyPr/>
          <a:lstStyle/>
          <a:p>
            <a:r>
              <a:rPr lang="en-US" noProof="0"/>
              <a:t>kpmg.com/socialmedia</a:t>
            </a:r>
          </a:p>
        </p:txBody>
      </p:sp>
    </p:spTree>
    <p:extLst>
      <p:ext uri="{BB962C8B-B14F-4D97-AF65-F5344CB8AC3E}">
        <p14:creationId xmlns:p14="http://schemas.microsoft.com/office/powerpoint/2010/main" val="582564414"/>
      </p:ext>
    </p:extLst>
  </p:cSld>
  <p:clrMapOvr>
    <a:overrideClrMapping bg1="lt1" tx1="dk1" bg2="lt2" tx2="dk2" accent1="accent1" accent2="accent2" accent3="accent3" accent4="accent4" accent5="accent5" accent6="accent6" hlink="hlink" folHlink="folHlink"/>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DV_TOP" val="496.0809"/>
  <p:tag name="ADV_LEFT" val="128.5557"/>
  <p:tag name="ADV_HEIGHT" val="32.35953"/>
  <p:tag name="ADV_WIDTH" val="538.7777"/>
  <p:tag name="ADV_COPYRIGHT" val="TRUE"/>
</p:tagLst>
</file>

<file path=ppt/tags/tag3.xml><?xml version="1.0" encoding="utf-8"?>
<p:tagLst xmlns:a="http://schemas.openxmlformats.org/drawingml/2006/main" xmlns:r="http://schemas.openxmlformats.org/officeDocument/2006/relationships" xmlns:p="http://schemas.openxmlformats.org/presentationml/2006/main">
  <p:tag name="COPYRIGHT1" val="TRUE"/>
</p:tagLst>
</file>

<file path=ppt/theme/theme1.xml><?xml version="1.0" encoding="utf-8"?>
<a:theme xmlns:a="http://schemas.openxmlformats.org/drawingml/2006/main" name="KPMG_Standard_4x3_0923_2015">
  <a:themeElements>
    <a:clrScheme name="Blue">
      <a:dk1>
        <a:sysClr val="windowText" lastClr="000000"/>
      </a:dk1>
      <a:lt1>
        <a:sysClr val="window" lastClr="FFFFFF"/>
      </a:lt1>
      <a:dk2>
        <a:srgbClr val="17406D"/>
      </a:dk2>
      <a:lt2>
        <a:srgbClr val="DBEFF9"/>
      </a:lt2>
      <a:accent1>
        <a:srgbClr val="0F6FC6"/>
      </a:accent1>
      <a:accent2>
        <a:srgbClr val="009DD9"/>
      </a:accent2>
      <a:accent3>
        <a:srgbClr val="0BD0D9"/>
      </a:accent3>
      <a:accent4>
        <a:srgbClr val="10CF9B"/>
      </a:accent4>
      <a:accent5>
        <a:srgbClr val="7CCA62"/>
      </a:accent5>
      <a:accent6>
        <a:srgbClr val="A5C249"/>
      </a:accent6>
      <a:hlink>
        <a:srgbClr val="F49100"/>
      </a:hlink>
      <a:folHlink>
        <a:srgbClr val="85DFD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Univers for KPMG"/>
        <a:font script="Hebr" typeface="Univers for KPMG"/>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Univers for KPMG"/>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sz="1600" dirty="0" smtClean="0">
            <a:solidFill>
              <a:srgbClr val="003087"/>
            </a:solidFill>
            <a:latin typeface="Univers for KPMG"/>
            <a:cs typeface="Univers for KPMG"/>
          </a:defRPr>
        </a:defPPr>
      </a:lstStyle>
    </a:txDef>
  </a:objectDefaults>
  <a:extraClrSchemeLst/>
  <a:extLst>
    <a:ext uri="{05A4C25C-085E-4340-85A3-A5531E510DB2}">
      <thm15:themeFamily xmlns:thm15="http://schemas.microsoft.com/office/thememl/2012/main" name="KPMG Report Standard Template.potx" id="{5E67CB3A-314B-4B72-970F-DCD15CEC7CF9}" vid="{AB8D2AB0-D185-4DD5-8E25-A0B3F8280F33}"/>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Blue">
    <a:dk1>
      <a:sysClr val="windowText" lastClr="000000"/>
    </a:dk1>
    <a:lt1>
      <a:sysClr val="window" lastClr="FFFFFF"/>
    </a:lt1>
    <a:dk2>
      <a:srgbClr val="17406D"/>
    </a:dk2>
    <a:lt2>
      <a:srgbClr val="DBEFF9"/>
    </a:lt2>
    <a:accent1>
      <a:srgbClr val="0F6FC6"/>
    </a:accent1>
    <a:accent2>
      <a:srgbClr val="009DD9"/>
    </a:accent2>
    <a:accent3>
      <a:srgbClr val="0BD0D9"/>
    </a:accent3>
    <a:accent4>
      <a:srgbClr val="10CF9B"/>
    </a:accent4>
    <a:accent5>
      <a:srgbClr val="7CCA62"/>
    </a:accent5>
    <a:accent6>
      <a:srgbClr val="A5C249"/>
    </a:accent6>
    <a:hlink>
      <a:srgbClr val="F49100"/>
    </a:hlink>
    <a:folHlink>
      <a:srgbClr val="85DFD0"/>
    </a:folHlink>
  </a:clrScheme>
</a:themeOverride>
</file>

<file path=ppt/theme/themeOverride2.xml><?xml version="1.0" encoding="utf-8"?>
<a:themeOverride xmlns:a="http://schemas.openxmlformats.org/drawingml/2006/main">
  <a:clrScheme name="Blue">
    <a:dk1>
      <a:sysClr val="windowText" lastClr="000000"/>
    </a:dk1>
    <a:lt1>
      <a:sysClr val="window" lastClr="FFFFFF"/>
    </a:lt1>
    <a:dk2>
      <a:srgbClr val="17406D"/>
    </a:dk2>
    <a:lt2>
      <a:srgbClr val="DBEFF9"/>
    </a:lt2>
    <a:accent1>
      <a:srgbClr val="0F6FC6"/>
    </a:accent1>
    <a:accent2>
      <a:srgbClr val="009DD9"/>
    </a:accent2>
    <a:accent3>
      <a:srgbClr val="0BD0D9"/>
    </a:accent3>
    <a:accent4>
      <a:srgbClr val="10CF9B"/>
    </a:accent4>
    <a:accent5>
      <a:srgbClr val="7CCA62"/>
    </a:accent5>
    <a:accent6>
      <a:srgbClr val="A5C249"/>
    </a:accent6>
    <a:hlink>
      <a:srgbClr val="F49100"/>
    </a:hlink>
    <a:folHlink>
      <a:srgbClr val="85DFD0"/>
    </a:folHlink>
  </a:clrScheme>
</a:themeOverride>
</file>

<file path=ppt/theme/themeOverride3.xml><?xml version="1.0" encoding="utf-8"?>
<a:themeOverride xmlns:a="http://schemas.openxmlformats.org/drawingml/2006/main">
  <a:clrScheme name="Blue">
    <a:dk1>
      <a:sysClr val="windowText" lastClr="000000"/>
    </a:dk1>
    <a:lt1>
      <a:sysClr val="window" lastClr="FFFFFF"/>
    </a:lt1>
    <a:dk2>
      <a:srgbClr val="17406D"/>
    </a:dk2>
    <a:lt2>
      <a:srgbClr val="DBEFF9"/>
    </a:lt2>
    <a:accent1>
      <a:srgbClr val="0F6FC6"/>
    </a:accent1>
    <a:accent2>
      <a:srgbClr val="009DD9"/>
    </a:accent2>
    <a:accent3>
      <a:srgbClr val="0BD0D9"/>
    </a:accent3>
    <a:accent4>
      <a:srgbClr val="10CF9B"/>
    </a:accent4>
    <a:accent5>
      <a:srgbClr val="7CCA62"/>
    </a:accent5>
    <a:accent6>
      <a:srgbClr val="A5C249"/>
    </a:accent6>
    <a:hlink>
      <a:srgbClr val="F49100"/>
    </a:hlink>
    <a:folHlink>
      <a:srgbClr val="85DFD0"/>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1AD2D862B31CE941816BA523EC1170B6" ma:contentTypeVersion="8" ma:contentTypeDescription="Create a new document." ma:contentTypeScope="" ma:versionID="b7f7975d1659d7bade093c11973c7c30">
  <xsd:schema xmlns:xsd="http://www.w3.org/2001/XMLSchema" xmlns:xs="http://www.w3.org/2001/XMLSchema" xmlns:p="http://schemas.microsoft.com/office/2006/metadata/properties" xmlns:ns2="fd16f99b-2d15-4b85-9fee-5be2f8e30100" targetNamespace="http://schemas.microsoft.com/office/2006/metadata/properties" ma:root="true" ma:fieldsID="9c10500f631d0a01a04f5feec9f2d99b" ns2:_="">
    <xsd:import namespace="fd16f99b-2d15-4b85-9fee-5be2f8e30100"/>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d16f99b-2d15-4b85-9fee-5be2f8e3010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55F1163-C2D1-4D42-A334-D4850AB81EAF}">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B71EC11A-9F6C-458D-9E0F-C30A8E202007}">
  <ds:schemaRefs>
    <ds:schemaRef ds:uri="fd16f99b-2d15-4b85-9fee-5be2f8e3010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1032CED8-2F60-4B91-A99E-34F668AC23F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Application>Microsoft Office PowerPoint</Application>
  <PresentationFormat>Widescreen</PresentationFormat>
  <Slides>7</Slides>
  <Notes>3</Notes>
  <HiddenSlides>0</HiddenSlides>
  <ScaleCrop>false</ScaleCrop>
  <HeadingPairs>
    <vt:vector size="4" baseType="variant">
      <vt:variant>
        <vt:lpstr>Theme</vt:lpstr>
      </vt:variant>
      <vt:variant>
        <vt:i4>2</vt:i4>
      </vt:variant>
      <vt:variant>
        <vt:lpstr>Slide Titles</vt:lpstr>
      </vt:variant>
      <vt:variant>
        <vt:i4>7</vt:i4>
      </vt:variant>
    </vt:vector>
  </HeadingPairs>
  <TitlesOfParts>
    <vt:vector size="9" baseType="lpstr">
      <vt:lpstr>KPMG_Standard_4x3_0923_2015</vt:lpstr>
      <vt:lpstr>Custom Design</vt:lpstr>
      <vt:lpstr>Name of the client  Internal Audit - Review for Audit Period_________</vt:lpstr>
      <vt:lpstr>Contents</vt:lpstr>
      <vt:lpstr>Overview of Observations</vt:lpstr>
      <vt:lpstr>Overview</vt:lpstr>
      <vt:lpstr>General Controls</vt:lpstr>
      <vt:lpstr>GL.1: Absence of policies and procedures and pending implementation of ROA</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irawat, Rishabh</dc:creator>
  <cp:revision>1</cp:revision>
  <cp:lastPrinted>2020-02-12T01:54:03Z</cp:lastPrinted>
  <dcterms:created xsi:type="dcterms:W3CDTF">2019-12-12T07:17:36Z</dcterms:created>
  <dcterms:modified xsi:type="dcterms:W3CDTF">2020-03-06T09:24: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AD2D862B31CE941816BA523EC1170B6</vt:lpwstr>
  </property>
</Properties>
</file>